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autoCompressPictures="0">
  <p:sldMasterIdLst>
    <p:sldMasterId id="2147483648" r:id="rId1"/>
    <p:sldMasterId id="2147483653" r:id="rId2"/>
    <p:sldMasterId id="2147483654" r:id="rId3"/>
    <p:sldMasterId id="2147483663" r:id="rId4"/>
    <p:sldMasterId id="2147483670" r:id="rId5"/>
  </p:sldMasterIdLst>
  <p:notesMasterIdLst>
    <p:notesMasterId r:id="rId20"/>
  </p:notesMasterIdLst>
  <p:handoutMasterIdLst>
    <p:handoutMasterId r:id="rId21"/>
  </p:handoutMasterIdLst>
  <p:sldIdLst>
    <p:sldId id="889" r:id="rId6"/>
    <p:sldId id="927" r:id="rId7"/>
    <p:sldId id="940" r:id="rId8"/>
    <p:sldId id="948" r:id="rId9"/>
    <p:sldId id="949" r:id="rId10"/>
    <p:sldId id="950" r:id="rId11"/>
    <p:sldId id="951" r:id="rId12"/>
    <p:sldId id="945" r:id="rId13"/>
    <p:sldId id="952" r:id="rId14"/>
    <p:sldId id="953" r:id="rId15"/>
    <p:sldId id="954" r:id="rId16"/>
    <p:sldId id="955" r:id="rId17"/>
    <p:sldId id="941" r:id="rId18"/>
    <p:sldId id="888" r:id="rId19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5pPr>
    <a:lvl6pPr marL="22860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6pPr>
    <a:lvl7pPr marL="27432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7pPr>
    <a:lvl8pPr marL="32004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8pPr>
    <a:lvl9pPr marL="36576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">
          <p15:clr>
            <a:srgbClr val="A4A3A4"/>
          </p15:clr>
        </p15:guide>
        <p15:guide id="2" pos="3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87">
          <p15:clr>
            <a:srgbClr val="A4A3A4"/>
          </p15:clr>
        </p15:guide>
        <p15:guide id="2" pos="20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meson" initials="j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AFFF"/>
    <a:srgbClr val="3397D3"/>
    <a:srgbClr val="006699"/>
    <a:srgbClr val="0099CC"/>
    <a:srgbClr val="2579AD"/>
    <a:srgbClr val="5391AD"/>
    <a:srgbClr val="0033CC"/>
    <a:srgbClr val="336699"/>
    <a:srgbClr val="3366CC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97" autoAdjust="0"/>
    <p:restoredTop sz="85252" autoAdjust="0"/>
  </p:normalViewPr>
  <p:slideViewPr>
    <p:cSldViewPr snapToGrid="0">
      <p:cViewPr varScale="1">
        <p:scale>
          <a:sx n="62" d="100"/>
          <a:sy n="62" d="100"/>
        </p:scale>
        <p:origin x="954" y="60"/>
      </p:cViewPr>
      <p:guideLst>
        <p:guide orient="horz" pos="48"/>
        <p:guide pos="3957"/>
      </p:guideLst>
    </p:cSldViewPr>
  </p:slideViewPr>
  <p:outlineViewPr>
    <p:cViewPr>
      <p:scale>
        <a:sx n="33" d="100"/>
        <a:sy n="33" d="100"/>
      </p:scale>
      <p:origin x="0" y="31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460"/>
    </p:cViewPr>
  </p:sorterViewPr>
  <p:notesViewPr>
    <p:cSldViewPr snapToGrid="0">
      <p:cViewPr varScale="1">
        <p:scale>
          <a:sx n="57" d="100"/>
          <a:sy n="57" d="100"/>
        </p:scale>
        <p:origin x="2832" y="66"/>
      </p:cViewPr>
      <p:guideLst>
        <p:guide orient="horz" pos="2987"/>
        <p:guide pos="20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 sz="1200"/>
            </a:lvl1pPr>
          </a:lstStyle>
          <a:p>
            <a:endParaRPr lang="zh-C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algn="r" eaLnBrk="0" hangingPunct="0">
              <a:defRPr sz="1200"/>
            </a:lvl1pPr>
          </a:lstStyle>
          <a:p>
            <a:fld id="{577FCCE2-DCE2-48FC-946F-A3722597D267}" type="datetime1">
              <a:rPr lang="en-US" altLang="zh-CN"/>
              <a:t>6/27/2019</a:t>
            </a:fld>
            <a:endParaRPr lang="en-US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eaLnBrk="0" hangingPunct="0">
              <a:defRPr sz="1200"/>
            </a:lvl1pPr>
          </a:lstStyle>
          <a:p>
            <a:endParaRPr lang="zh-C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0" hangingPunct="0">
              <a:defRPr sz="1200"/>
            </a:lvl1pPr>
          </a:lstStyle>
          <a:p>
            <a:fld id="{66EA37FA-CF25-4304-9582-7D829F97A666}" type="slidenum">
              <a:rPr lang="en-US" altLang="zh-CN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algn="r"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en-US" altLang="zh-CN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>
            <a:lvl1pPr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en-US" altLang="zh-CN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>
            <a:lvl1pPr algn="r" eaLnBrk="0" hangingPunct="0">
              <a:defRPr sz="1200">
                <a:latin typeface="Arial" panose="020B0604020202020204" pitchFamily="34" charset="0"/>
              </a:defRPr>
            </a:lvl1pPr>
          </a:lstStyle>
          <a:p>
            <a:fld id="{71C8F40B-9DD4-4585-977D-3BEBB0EC13C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5pPr>
    <a:lvl6pPr marL="22860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5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41476"/>
            <a:ext cx="12192000" cy="521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4221088"/>
            <a:ext cx="8128000" cy="685800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983088"/>
            <a:ext cx="6908800" cy="914400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black_line cop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1" y="6350001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/>
          <p:cNvSpPr txBox="1">
            <a:spLocks noChangeArrowheads="1"/>
          </p:cNvSpPr>
          <p:nvPr userDrawn="1"/>
        </p:nvSpPr>
        <p:spPr bwMode="auto">
          <a:xfrm>
            <a:off x="334434" y="6540500"/>
            <a:ext cx="6731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EF37405A-C04A-4CDF-BE22-4BF08C856EAE}" type="slidenum">
              <a:rPr lang="zh-CN" altLang="en-US" sz="1000" smtClean="0">
                <a:solidFill>
                  <a:srgbClr val="5A5A5A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smtClean="0">
              <a:solidFill>
                <a:srgbClr val="5A5A5A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8" name="Picture 2" descr="内容页-0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57" t="94768"/>
          <a:stretch>
            <a:fillRect/>
          </a:stretch>
        </p:blipFill>
        <p:spPr bwMode="auto">
          <a:xfrm>
            <a:off x="10589684" y="6489701"/>
            <a:ext cx="1589616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" descr="black_line cop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1" y="1100139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4" y="373516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4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4" y="1483388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Myriad Pro Light"/>
                <a:ea typeface="方正细黑一简体"/>
                <a:cs typeface="Myriad Pro Light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JTLJZ-5LPZ0W\Desktop\ppt\PPT38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050"/>
            <a:ext cx="122174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292" name="think-cell Slide" r:id="rId5" imgW="12700" imgH="12700" progId="">
                  <p:embed/>
                </p:oleObj>
              </mc:Choice>
              <mc:Fallback>
                <p:oleObj name="think-cell Slide" r:id="rId5" imgW="12700" imgH="12700" progId="">
                  <p:embed/>
                  <p:pic>
                    <p:nvPicPr>
                      <p:cNvPr id="0" name="Picture 48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对象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293" name="think-cell Slide" r:id="rId7" imgW="12700" imgH="12700" progId="">
                  <p:embed/>
                </p:oleObj>
              </mc:Choice>
              <mc:Fallback>
                <p:oleObj name="think-cell Slide" r:id="rId7" imgW="12700" imgH="12700" progId="">
                  <p:embed/>
                  <p:pic>
                    <p:nvPicPr>
                      <p:cNvPr id="0" name="Picture 4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22047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729"/>
          <a:stretch>
            <a:fillRect/>
          </a:stretch>
        </p:blipFill>
        <p:spPr bwMode="auto">
          <a:xfrm>
            <a:off x="5641978" y="1071567"/>
            <a:ext cx="920751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2038351" y="2517595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38351" y="3852209"/>
            <a:ext cx="8128000" cy="1257672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57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24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5"/>
            <a:ext cx="12192000" cy="685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文本框 3"/>
          <p:cNvSpPr txBox="1">
            <a:spLocks noChangeArrowheads="1"/>
          </p:cNvSpPr>
          <p:nvPr userDrawn="1"/>
        </p:nvSpPr>
        <p:spPr bwMode="auto">
          <a:xfrm>
            <a:off x="5052290" y="430214"/>
            <a:ext cx="2087430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ts val="1200"/>
              </a:spcBef>
              <a:defRPr/>
            </a:pPr>
            <a:r>
              <a:rPr lang="zh-CN" altLang="en-US" sz="4400" smtClean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目 录</a:t>
            </a:r>
            <a:endParaRPr lang="en-US" altLang="zh-CN" sz="4400" smtClean="0">
              <a:solidFill>
                <a:schemeClr val="bg1"/>
              </a:solidFill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pPr algn="ctr" eaLnBrk="1" hangingPunct="1">
              <a:spcBef>
                <a:spcPts val="1200"/>
              </a:spcBef>
              <a:defRPr/>
            </a:pPr>
            <a:r>
              <a:rPr lang="en-US" altLang="zh-CN" sz="2800" smtClean="0">
                <a:solidFill>
                  <a:schemeClr val="bg1"/>
                </a:solidFill>
                <a:latin typeface="Dotum" panose="020B0600000101010101" pitchFamily="34" charset="-127"/>
                <a:ea typeface="Dotum" panose="020B0600000101010101" pitchFamily="34" charset="-127"/>
                <a:cs typeface="Arial" panose="020B0604020202020204" pitchFamily="34" charset="0"/>
              </a:rPr>
              <a:t>CONTENTS</a:t>
            </a:r>
            <a:endParaRPr lang="zh-CN" altLang="en-US" sz="2800" smtClean="0">
              <a:solidFill>
                <a:schemeClr val="bg1"/>
              </a:solidFill>
              <a:latin typeface="Dotum" panose="020B0600000101010101" pitchFamily="34" charset="-127"/>
              <a:ea typeface="Dotum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96899" y="2614715"/>
            <a:ext cx="6432551" cy="3428999"/>
          </a:xfrm>
          <a:prstGeom prst="rect">
            <a:avLst/>
          </a:prstGeom>
        </p:spPr>
        <p:txBody>
          <a:bodyPr/>
          <a:lstStyle>
            <a:lvl1pPr marL="0">
              <a:buFont typeface="Arial" panose="020B0604020202020204"/>
              <a:buNone/>
              <a:defRPr lang="en-US" altLang="zh-CN" sz="180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5570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12395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112395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34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24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11456991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11" name="图片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91" y="6407151"/>
            <a:ext cx="1008063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5" y="373520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0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5" y="1483390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8"/>
          <p:cNvSpPr/>
          <p:nvPr userDrawn="1"/>
        </p:nvSpPr>
        <p:spPr>
          <a:xfrm>
            <a:off x="7" y="156470"/>
            <a:ext cx="2278303" cy="504056"/>
          </a:xfrm>
          <a:custGeom>
            <a:avLst/>
            <a:gdLst>
              <a:gd name="connsiteX0" fmla="*/ 0 w 1224136"/>
              <a:gd name="connsiteY0" fmla="*/ 0 h 432048"/>
              <a:gd name="connsiteX1" fmla="*/ 1224136 w 1224136"/>
              <a:gd name="connsiteY1" fmla="*/ 0 h 432048"/>
              <a:gd name="connsiteX2" fmla="*/ 1224136 w 1224136"/>
              <a:gd name="connsiteY2" fmla="*/ 432048 h 432048"/>
              <a:gd name="connsiteX3" fmla="*/ 0 w 1224136"/>
              <a:gd name="connsiteY3" fmla="*/ 432048 h 432048"/>
              <a:gd name="connsiteX4" fmla="*/ 0 w 1224136"/>
              <a:gd name="connsiteY4" fmla="*/ 0 h 432048"/>
              <a:gd name="connsiteX0-1" fmla="*/ 0 w 1224136"/>
              <a:gd name="connsiteY0-2" fmla="*/ 28575 h 460623"/>
              <a:gd name="connsiteX1-3" fmla="*/ 1024111 w 1224136"/>
              <a:gd name="connsiteY1-4" fmla="*/ 0 h 460623"/>
              <a:gd name="connsiteX2-5" fmla="*/ 1224136 w 1224136"/>
              <a:gd name="connsiteY2-6" fmla="*/ 460623 h 460623"/>
              <a:gd name="connsiteX3-7" fmla="*/ 0 w 1224136"/>
              <a:gd name="connsiteY3-8" fmla="*/ 460623 h 460623"/>
              <a:gd name="connsiteX4-9" fmla="*/ 0 w 1224136"/>
              <a:gd name="connsiteY4-10" fmla="*/ 28575 h 460623"/>
              <a:gd name="connsiteX0-11" fmla="*/ 0 w 1224136"/>
              <a:gd name="connsiteY0-12" fmla="*/ 0 h 432048"/>
              <a:gd name="connsiteX1-13" fmla="*/ 1024111 w 1224136"/>
              <a:gd name="connsiteY1-14" fmla="*/ 0 h 432048"/>
              <a:gd name="connsiteX2-15" fmla="*/ 1224136 w 1224136"/>
              <a:gd name="connsiteY2-16" fmla="*/ 432048 h 432048"/>
              <a:gd name="connsiteX3-17" fmla="*/ 0 w 1224136"/>
              <a:gd name="connsiteY3-18" fmla="*/ 432048 h 432048"/>
              <a:gd name="connsiteX4-19" fmla="*/ 0 w 1224136"/>
              <a:gd name="connsiteY4-20" fmla="*/ 0 h 432048"/>
              <a:gd name="connsiteX0-21" fmla="*/ 0 w 1224136"/>
              <a:gd name="connsiteY0-22" fmla="*/ 0 h 432048"/>
              <a:gd name="connsiteX1-23" fmla="*/ 1014586 w 1224136"/>
              <a:gd name="connsiteY1-24" fmla="*/ 0 h 432048"/>
              <a:gd name="connsiteX2-25" fmla="*/ 1224136 w 1224136"/>
              <a:gd name="connsiteY2-26" fmla="*/ 432048 h 432048"/>
              <a:gd name="connsiteX3-27" fmla="*/ 0 w 1224136"/>
              <a:gd name="connsiteY3-28" fmla="*/ 432048 h 432048"/>
              <a:gd name="connsiteX4-29" fmla="*/ 0 w 1224136"/>
              <a:gd name="connsiteY4-30" fmla="*/ 0 h 4320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24136" h="432048">
                <a:moveTo>
                  <a:pt x="0" y="0"/>
                </a:moveTo>
                <a:lnTo>
                  <a:pt x="1014586" y="0"/>
                </a:lnTo>
                <a:lnTo>
                  <a:pt x="1224136" y="432048"/>
                </a:lnTo>
                <a:lnTo>
                  <a:pt x="0" y="432048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4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1" descr="black_line cop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4" y="6361122"/>
            <a:ext cx="11292464" cy="11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直接连接符 10"/>
          <p:cNvCxnSpPr>
            <a:stCxn id="12" idx="3"/>
          </p:cNvCxnSpPr>
          <p:nvPr userDrawn="1"/>
        </p:nvCxnSpPr>
        <p:spPr>
          <a:xfrm>
            <a:off x="9" y="660523"/>
            <a:ext cx="11568609" cy="0"/>
          </a:xfrm>
          <a:prstGeom prst="line">
            <a:avLst/>
          </a:prstGeom>
          <a:ln w="19050" cap="rnd">
            <a:solidFill>
              <a:srgbClr val="0070C0"/>
            </a:solidFill>
            <a:miter lim="800000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 l="86957" t="94768"/>
          <a:stretch>
            <a:fillRect/>
          </a:stretch>
        </p:blipFill>
        <p:spPr bwMode="auto">
          <a:xfrm>
            <a:off x="-4691" y="6499253"/>
            <a:ext cx="1589616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11639873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09150" y="125324"/>
            <a:ext cx="9259467" cy="535200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81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24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8393"/>
            <a:ext cx="12192000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文本框 3"/>
          <p:cNvSpPr txBox="1">
            <a:spLocks noChangeArrowheads="1"/>
          </p:cNvSpPr>
          <p:nvPr userDrawn="1"/>
        </p:nvSpPr>
        <p:spPr bwMode="auto">
          <a:xfrm>
            <a:off x="4219577" y="2755902"/>
            <a:ext cx="3752851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ts val="1200"/>
              </a:spcBef>
              <a:defRPr/>
            </a:pPr>
            <a:r>
              <a:rPr lang="zh-CN" altLang="en-US" sz="4400" smtClean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谢谢</a:t>
            </a:r>
            <a:endParaRPr lang="en-US" altLang="zh-CN" sz="4400" smtClean="0">
              <a:solidFill>
                <a:schemeClr val="bg1"/>
              </a:solidFill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pPr algn="ctr" eaLnBrk="1" hangingPunct="1">
              <a:spcBef>
                <a:spcPts val="1200"/>
              </a:spcBef>
              <a:defRPr/>
            </a:pPr>
            <a:r>
              <a:rPr lang="en-US" altLang="zh-CN" sz="2800" smtClean="0">
                <a:solidFill>
                  <a:schemeClr val="bg1"/>
                </a:solidFill>
                <a:latin typeface="Dotum" panose="020B0600000101010101" pitchFamily="34" charset="-127"/>
                <a:ea typeface="Dotum" panose="020B0600000101010101" pitchFamily="34" charset="-127"/>
              </a:rPr>
              <a:t>THANK YOU</a:t>
            </a:r>
            <a:endParaRPr lang="zh-CN" altLang="en-US" sz="2800" smtClean="0">
              <a:solidFill>
                <a:schemeClr val="bg1"/>
              </a:solidFill>
              <a:latin typeface="Dotum" panose="020B0600000101010101" pitchFamily="34" charset="-127"/>
              <a:ea typeface="Dotum" panose="020B0600000101010101" pitchFamily="34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A0C9CD0-1D36-4102-AE33-CBDC7869A4A2}" type="datetimeFigureOut">
              <a:rPr lang="en-US"/>
              <a:t>6/27/2019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16853EA-222C-48D0-8CA7-8997E68596DC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封面页（无图片）-01-03-03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封面页（无图片）-01-03-0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88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JTLJZ-5LPZ0W\Desktop\ppt\PPT38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050"/>
            <a:ext cx="122174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352425"/>
            <a:ext cx="495300" cy="65881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sz="4210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527050" y="352425"/>
            <a:ext cx="50800" cy="658813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sz="421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anose="020B060403050404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7932A83E-3A43-4480-A622-49DF3D447394}" type="datetime1">
              <a:rPr lang="zh-CN" altLang="en-US"/>
              <a:t>2019/6/27</a:t>
            </a:fld>
            <a:endParaRPr lang="zh-CN" altLang="en-US" dirty="0"/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anose="020B060403050404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0" y="498475"/>
            <a:ext cx="4953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0484988C-0AE8-4173-86A2-A1695EF75018}" type="slidenum">
              <a:rPr lang="zh-CN" altLang="en-US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8"/>
          <p:cNvSpPr/>
          <p:nvPr userDrawn="1"/>
        </p:nvSpPr>
        <p:spPr>
          <a:xfrm>
            <a:off x="7" y="156470"/>
            <a:ext cx="2278303" cy="504056"/>
          </a:xfrm>
          <a:custGeom>
            <a:avLst/>
            <a:gdLst>
              <a:gd name="connsiteX0" fmla="*/ 0 w 1224136"/>
              <a:gd name="connsiteY0" fmla="*/ 0 h 432048"/>
              <a:gd name="connsiteX1" fmla="*/ 1224136 w 1224136"/>
              <a:gd name="connsiteY1" fmla="*/ 0 h 432048"/>
              <a:gd name="connsiteX2" fmla="*/ 1224136 w 1224136"/>
              <a:gd name="connsiteY2" fmla="*/ 432048 h 432048"/>
              <a:gd name="connsiteX3" fmla="*/ 0 w 1224136"/>
              <a:gd name="connsiteY3" fmla="*/ 432048 h 432048"/>
              <a:gd name="connsiteX4" fmla="*/ 0 w 1224136"/>
              <a:gd name="connsiteY4" fmla="*/ 0 h 432048"/>
              <a:gd name="connsiteX0-1" fmla="*/ 0 w 1224136"/>
              <a:gd name="connsiteY0-2" fmla="*/ 28575 h 460623"/>
              <a:gd name="connsiteX1-3" fmla="*/ 1024111 w 1224136"/>
              <a:gd name="connsiteY1-4" fmla="*/ 0 h 460623"/>
              <a:gd name="connsiteX2-5" fmla="*/ 1224136 w 1224136"/>
              <a:gd name="connsiteY2-6" fmla="*/ 460623 h 460623"/>
              <a:gd name="connsiteX3-7" fmla="*/ 0 w 1224136"/>
              <a:gd name="connsiteY3-8" fmla="*/ 460623 h 460623"/>
              <a:gd name="connsiteX4-9" fmla="*/ 0 w 1224136"/>
              <a:gd name="connsiteY4-10" fmla="*/ 28575 h 460623"/>
              <a:gd name="connsiteX0-11" fmla="*/ 0 w 1224136"/>
              <a:gd name="connsiteY0-12" fmla="*/ 0 h 432048"/>
              <a:gd name="connsiteX1-13" fmla="*/ 1024111 w 1224136"/>
              <a:gd name="connsiteY1-14" fmla="*/ 0 h 432048"/>
              <a:gd name="connsiteX2-15" fmla="*/ 1224136 w 1224136"/>
              <a:gd name="connsiteY2-16" fmla="*/ 432048 h 432048"/>
              <a:gd name="connsiteX3-17" fmla="*/ 0 w 1224136"/>
              <a:gd name="connsiteY3-18" fmla="*/ 432048 h 432048"/>
              <a:gd name="connsiteX4-19" fmla="*/ 0 w 1224136"/>
              <a:gd name="connsiteY4-20" fmla="*/ 0 h 432048"/>
              <a:gd name="connsiteX0-21" fmla="*/ 0 w 1224136"/>
              <a:gd name="connsiteY0-22" fmla="*/ 0 h 432048"/>
              <a:gd name="connsiteX1-23" fmla="*/ 1014586 w 1224136"/>
              <a:gd name="connsiteY1-24" fmla="*/ 0 h 432048"/>
              <a:gd name="connsiteX2-25" fmla="*/ 1224136 w 1224136"/>
              <a:gd name="connsiteY2-26" fmla="*/ 432048 h 432048"/>
              <a:gd name="connsiteX3-27" fmla="*/ 0 w 1224136"/>
              <a:gd name="connsiteY3-28" fmla="*/ 432048 h 432048"/>
              <a:gd name="connsiteX4-29" fmla="*/ 0 w 1224136"/>
              <a:gd name="connsiteY4-30" fmla="*/ 0 h 4320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24136" h="432048">
                <a:moveTo>
                  <a:pt x="0" y="0"/>
                </a:moveTo>
                <a:lnTo>
                  <a:pt x="1014586" y="0"/>
                </a:lnTo>
                <a:lnTo>
                  <a:pt x="1224136" y="432048"/>
                </a:lnTo>
                <a:lnTo>
                  <a:pt x="0" y="432048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4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1" descr="black_line cop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4" y="6361122"/>
            <a:ext cx="11292464" cy="11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直接连接符 10"/>
          <p:cNvCxnSpPr>
            <a:stCxn id="12" idx="3"/>
          </p:cNvCxnSpPr>
          <p:nvPr userDrawn="1"/>
        </p:nvCxnSpPr>
        <p:spPr>
          <a:xfrm>
            <a:off x="9" y="660523"/>
            <a:ext cx="11568609" cy="0"/>
          </a:xfrm>
          <a:prstGeom prst="line">
            <a:avLst/>
          </a:prstGeom>
          <a:ln w="19050" cap="rnd">
            <a:solidFill>
              <a:srgbClr val="0070C0"/>
            </a:solidFill>
            <a:miter lim="800000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 l="86957" t="94768"/>
          <a:stretch>
            <a:fillRect/>
          </a:stretch>
        </p:blipFill>
        <p:spPr bwMode="auto">
          <a:xfrm>
            <a:off x="-4691" y="6499253"/>
            <a:ext cx="1589616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11639873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09150" y="125324"/>
            <a:ext cx="9259467" cy="535200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black_line copy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68300" y="6315075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/>
          <p:cNvSpPr txBox="1">
            <a:spLocks noChangeArrowheads="1"/>
          </p:cNvSpPr>
          <p:nvPr userDrawn="1"/>
        </p:nvSpPr>
        <p:spPr bwMode="auto">
          <a:xfrm>
            <a:off x="334433" y="6540659"/>
            <a:ext cx="673100" cy="15367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679350B8-9554-9C44-9B50-4C5FA9B0A6A4}" type="slidenum">
              <a:rPr lang="zh-CN" altLang="en-US" sz="1000" smtClean="0">
                <a:solidFill>
                  <a:srgbClr val="5A5A5A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smtClean="0">
              <a:solidFill>
                <a:srgbClr val="5A5A5A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8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36767" y="6384925"/>
            <a:ext cx="1344084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4" y="373515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0" kern="1200" noProof="0" dirty="0">
                <a:solidFill>
                  <a:srgbClr val="173E81"/>
                </a:solidFill>
                <a:latin typeface="Myriad Pro"/>
                <a:ea typeface="黑体" panose="02010609060101010101" charset="-122"/>
                <a:cs typeface="Myriad Pro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4" y="1483388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Myriad Pro" charset="0"/>
                <a:ea typeface="Myriad Pro" charset="0"/>
                <a:cs typeface="Myriad Pro" charset="0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结束页_130411_太平洋保险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904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24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19151" y="314327"/>
            <a:ext cx="10363200" cy="839788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19151" y="1371600"/>
            <a:ext cx="10363200" cy="472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320871" y="6423031"/>
            <a:ext cx="960967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A6E88B-3C97-4193-A9FC-879E4589873C}" type="slidenum">
              <a:rPr lang="en-US" altLang="zh-CN"/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Untitled-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3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27417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0763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4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27417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0763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12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0" name="Picture 2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0995" indent="-226695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6695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29870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2870" indent="-229870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0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2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44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16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B993616A-DD75-4195-87B8-AF2A5BB71EE7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  <a:t>2019/6/27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7FA099C6-3221-42D9-89DD-FFEFBEBF025C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7FA099C6-3221-42D9-89DD-FFEFBEBF025C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</p:sldLayoutIdLst>
  <p:hf hdr="0" ftr="0" dt="0"/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17" name="think-cell Slide" r:id="rId10" imgW="12700" imgH="12700" progId="">
                  <p:embed/>
                </p:oleObj>
              </mc:Choice>
              <mc:Fallback>
                <p:oleObj name="think-cell Slide" r:id="rId10" imgW="12700" imgH="12700" progId="">
                  <p:embed/>
                  <p:pic>
                    <p:nvPicPr>
                      <p:cNvPr id="0" name="Picture 2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0995" indent="-226695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6695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29870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2870" indent="-229870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0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2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44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16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1630" indent="-227330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733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30505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3505" indent="-230505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7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9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51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23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 bwMode="auto">
          <a:xfrm>
            <a:off x="812800" y="1775877"/>
            <a:ext cx="8128000" cy="1269504"/>
          </a:xfrm>
          <a:noFill/>
          <a:ln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新致项目低效SQL改进方案及计划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822450" y="3030855"/>
            <a:ext cx="404114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9-0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983990" cy="838834"/>
            <a:chOff x="1056044" y="2620500"/>
            <a:chExt cx="3778072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778072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7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lang="zh-CN" altLang="en-US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存量数据大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8082915" y="153606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269605" y="2044700"/>
            <a:ext cx="325882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中表xt_b_policy_pdf_task存量数据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100W+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对其数据进行归档处理；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4075" y="1817370"/>
            <a:ext cx="6943725" cy="45624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983990" cy="838834"/>
            <a:chOff x="1056044" y="2620500"/>
            <a:chExt cx="3778072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778072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8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lang="zh-CN" altLang="en-US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多张大表关联查询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8905875" y="153606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978265" y="2044700"/>
            <a:ext cx="27711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中包含多张大表，根据业务逻辑拆成单张表处理；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135" y="1821815"/>
            <a:ext cx="8039100" cy="4572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</a:p>
        </p:txBody>
      </p:sp>
      <p:graphicFrame>
        <p:nvGraphicFramePr>
          <p:cNvPr id="20" name="表格 19"/>
          <p:cNvGraphicFramePr/>
          <p:nvPr/>
        </p:nvGraphicFramePr>
        <p:xfrm>
          <a:off x="852170" y="1803400"/>
          <a:ext cx="10430510" cy="3978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3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3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232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7675">
                <a:tc gridSpan="3"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新致项目低效</a:t>
                      </a:r>
                      <a:r>
                        <a:rPr lang="en-US" altLang="zh-CN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QL</a:t>
                      </a:r>
                      <a:r>
                        <a:rPr lang="zh-CN" altLang="en-US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改良计划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2595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数量（个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划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4025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集团2015版客户服务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-28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-19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，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其他系统、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-16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修复部分，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报表库需沟通申请例外；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4025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寿险2015版神行太保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-21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-1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-19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-16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；</a:t>
                      </a:r>
                      <a:endParaRPr lang="zh-CN" altLang="en-US" sz="14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4025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产险2005版人意险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-14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-21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-19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；</a:t>
                      </a:r>
                      <a:endParaRPr lang="zh-CN" altLang="en-US" sz="14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4025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寿险2010版科技个险行销支持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-28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修复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另外</a:t>
                      </a: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需要沟通处理；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4025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寿险2018版个人渠道综合管理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-12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修复</a:t>
                      </a:r>
                      <a:r>
                        <a:rPr lang="zh-CN" altLang="en-US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；</a:t>
                      </a:r>
                      <a:endParaRPr lang="zh-CN" altLang="en-US" sz="14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4025"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合计</a:t>
                      </a:r>
                      <a:endParaRPr lang="zh-CN" altLang="en-US" sz="140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endParaRPr lang="en-US" altLang="zh-CN" sz="14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1" name="组合 20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56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3646275" cy="60757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改良计划</a:t>
                </a: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6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sym typeface="+mn-ea"/>
                  </a:rPr>
                  <a:t>Improvement Measures Plan</a:t>
                </a: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</a:rPr>
                  <a:t>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</a:p>
        </p:txBody>
      </p:sp>
      <p:grpSp>
        <p:nvGrpSpPr>
          <p:cNvPr id="48" name="组合 47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49" name="矩形 48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0" name="组合 49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51" name="矩形 50"/>
              <p:cNvSpPr/>
              <p:nvPr/>
            </p:nvSpPr>
            <p:spPr>
              <a:xfrm>
                <a:off x="8386921" y="2014885"/>
                <a:ext cx="3646275" cy="607522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l"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改进方案</a:t>
                </a:r>
              </a:p>
            </p:txBody>
          </p:sp>
          <p:sp>
            <p:nvSpPr>
              <p:cNvPr id="52" name="文本框 51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</a:rPr>
                  <a:t>Sql Improvement Measures</a:t>
                </a:r>
              </a:p>
            </p:txBody>
          </p:sp>
        </p:grpSp>
      </p:grpSp>
      <p:grpSp>
        <p:nvGrpSpPr>
          <p:cNvPr id="34" name="Group 4"/>
          <p:cNvGrpSpPr>
            <a:grpSpLocks noChangeAspect="1"/>
          </p:cNvGrpSpPr>
          <p:nvPr/>
        </p:nvGrpSpPr>
        <p:grpSpPr>
          <a:xfrm rot="4351113">
            <a:off x="5276850" y="1968500"/>
            <a:ext cx="4707255" cy="3246755"/>
            <a:chOff x="940378" y="1114346"/>
            <a:chExt cx="7056438" cy="4867275"/>
          </a:xfrm>
        </p:grpSpPr>
        <p:sp>
          <p:nvSpPr>
            <p:cNvPr id="35" name="Arc 682"/>
            <p:cNvSpPr/>
            <p:nvPr/>
          </p:nvSpPr>
          <p:spPr bwMode="auto">
            <a:xfrm rot="18746405">
              <a:off x="3554196" y="1119903"/>
              <a:ext cx="1014413" cy="1003300"/>
            </a:xfrm>
            <a:custGeom>
              <a:avLst/>
              <a:gdLst>
                <a:gd name="T0" fmla="*/ 2147483647 w 21600"/>
                <a:gd name="T1" fmla="*/ 0 h 21356"/>
                <a:gd name="T2" fmla="*/ 2147483647 w 21600"/>
                <a:gd name="T3" fmla="*/ 2147483647 h 21356"/>
                <a:gd name="T4" fmla="*/ 0 w 21600"/>
                <a:gd name="T5" fmla="*/ 2147483647 h 21356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356"/>
                <a:gd name="T11" fmla="*/ 21600 w 21600"/>
                <a:gd name="T12" fmla="*/ 21356 h 2135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356" fill="none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</a:path>
                <a:path w="21600" h="21356" stroke="0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lnTo>
                    <a:pt x="0" y="21356"/>
                  </a:lnTo>
                  <a:lnTo>
                    <a:pt x="3237" y="-1"/>
                  </a:lnTo>
                  <a:close/>
                </a:path>
              </a:pathLst>
            </a:custGeom>
            <a:noFill/>
            <a:ln w="9525">
              <a:solidFill>
                <a:sysClr val="window" lastClr="FFFFFF">
                  <a:lumMod val="50000"/>
                </a:sysClr>
              </a:solidFill>
              <a:prstDash val="sysDot"/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just" defTabSz="1054735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 sz="900" kern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36" name="Freeform 673"/>
            <p:cNvSpPr>
              <a:spLocks noEditPoints="1"/>
            </p:cNvSpPr>
            <p:nvPr/>
          </p:nvSpPr>
          <p:spPr bwMode="auto">
            <a:xfrm rot="21275257">
              <a:off x="4204278" y="1579484"/>
              <a:ext cx="2628900" cy="2630487"/>
            </a:xfrm>
            <a:custGeom>
              <a:avLst/>
              <a:gdLst>
                <a:gd name="T0" fmla="*/ 2147483647 w 1816"/>
                <a:gd name="T1" fmla="*/ 2147483647 h 1816"/>
                <a:gd name="T2" fmla="*/ 2147483647 w 1816"/>
                <a:gd name="T3" fmla="*/ 2147483647 h 1816"/>
                <a:gd name="T4" fmla="*/ 2147483647 w 1816"/>
                <a:gd name="T5" fmla="*/ 2147483647 h 1816"/>
                <a:gd name="T6" fmla="*/ 2147483647 w 1816"/>
                <a:gd name="T7" fmla="*/ 2147483647 h 1816"/>
                <a:gd name="T8" fmla="*/ 2147483647 w 1816"/>
                <a:gd name="T9" fmla="*/ 2147483647 h 1816"/>
                <a:gd name="T10" fmla="*/ 2147483647 w 1816"/>
                <a:gd name="T11" fmla="*/ 2147483647 h 1816"/>
                <a:gd name="T12" fmla="*/ 2147483647 w 1816"/>
                <a:gd name="T13" fmla="*/ 2147483647 h 1816"/>
                <a:gd name="T14" fmla="*/ 2147483647 w 1816"/>
                <a:gd name="T15" fmla="*/ 2147483647 h 1816"/>
                <a:gd name="T16" fmla="*/ 2147483647 w 1816"/>
                <a:gd name="T17" fmla="*/ 2147483647 h 1816"/>
                <a:gd name="T18" fmla="*/ 2147483647 w 1816"/>
                <a:gd name="T19" fmla="*/ 2147483647 h 1816"/>
                <a:gd name="T20" fmla="*/ 2147483647 w 1816"/>
                <a:gd name="T21" fmla="*/ 2147483647 h 1816"/>
                <a:gd name="T22" fmla="*/ 2147483647 w 1816"/>
                <a:gd name="T23" fmla="*/ 2147483647 h 1816"/>
                <a:gd name="T24" fmla="*/ 0 w 1816"/>
                <a:gd name="T25" fmla="*/ 2147483647 h 1816"/>
                <a:gd name="T26" fmla="*/ 2147483647 w 1816"/>
                <a:gd name="T27" fmla="*/ 2147483647 h 1816"/>
                <a:gd name="T28" fmla="*/ 2147483647 w 1816"/>
                <a:gd name="T29" fmla="*/ 2147483647 h 1816"/>
                <a:gd name="T30" fmla="*/ 2147483647 w 1816"/>
                <a:gd name="T31" fmla="*/ 2147483647 h 1816"/>
                <a:gd name="T32" fmla="*/ 2147483647 w 1816"/>
                <a:gd name="T33" fmla="*/ 2147483647 h 1816"/>
                <a:gd name="T34" fmla="*/ 2147483647 w 1816"/>
                <a:gd name="T35" fmla="*/ 2147483647 h 1816"/>
                <a:gd name="T36" fmla="*/ 2147483647 w 1816"/>
                <a:gd name="T37" fmla="*/ 2147483647 h 1816"/>
                <a:gd name="T38" fmla="*/ 2147483647 w 1816"/>
                <a:gd name="T39" fmla="*/ 2147483647 h 1816"/>
                <a:gd name="T40" fmla="*/ 2147483647 w 1816"/>
                <a:gd name="T41" fmla="*/ 2147483647 h 1816"/>
                <a:gd name="T42" fmla="*/ 2147483647 w 1816"/>
                <a:gd name="T43" fmla="*/ 2147483647 h 1816"/>
                <a:gd name="T44" fmla="*/ 2147483647 w 1816"/>
                <a:gd name="T45" fmla="*/ 2147483647 h 1816"/>
                <a:gd name="T46" fmla="*/ 2147483647 w 1816"/>
                <a:gd name="T47" fmla="*/ 2147483647 h 1816"/>
                <a:gd name="T48" fmla="*/ 2147483647 w 1816"/>
                <a:gd name="T49" fmla="*/ 2147483647 h 1816"/>
                <a:gd name="T50" fmla="*/ 2147483647 w 1816"/>
                <a:gd name="T51" fmla="*/ 2147483647 h 1816"/>
                <a:gd name="T52" fmla="*/ 2147483647 w 1816"/>
                <a:gd name="T53" fmla="*/ 2147483647 h 1816"/>
                <a:gd name="T54" fmla="*/ 2147483647 w 1816"/>
                <a:gd name="T55" fmla="*/ 2147483647 h 1816"/>
                <a:gd name="T56" fmla="*/ 2147483647 w 1816"/>
                <a:gd name="T57" fmla="*/ 2147483647 h 1816"/>
                <a:gd name="T58" fmla="*/ 2147483647 w 1816"/>
                <a:gd name="T59" fmla="*/ 2147483647 h 1816"/>
                <a:gd name="T60" fmla="*/ 2147483647 w 1816"/>
                <a:gd name="T61" fmla="*/ 2147483647 h 1816"/>
                <a:gd name="T62" fmla="*/ 2147483647 w 1816"/>
                <a:gd name="T63" fmla="*/ 2147483647 h 1816"/>
                <a:gd name="T64" fmla="*/ 2147483647 w 1816"/>
                <a:gd name="T65" fmla="*/ 2147483647 h 1816"/>
                <a:gd name="T66" fmla="*/ 2147483647 w 1816"/>
                <a:gd name="T67" fmla="*/ 2147483647 h 1816"/>
                <a:gd name="T68" fmla="*/ 2147483647 w 1816"/>
                <a:gd name="T69" fmla="*/ 2147483647 h 1816"/>
                <a:gd name="T70" fmla="*/ 2147483647 w 1816"/>
                <a:gd name="T71" fmla="*/ 2147483647 h 1816"/>
                <a:gd name="T72" fmla="*/ 2147483647 w 1816"/>
                <a:gd name="T73" fmla="*/ 2147483647 h 1816"/>
                <a:gd name="T74" fmla="*/ 2147483647 w 1816"/>
                <a:gd name="T75" fmla="*/ 2147483647 h 1816"/>
                <a:gd name="T76" fmla="*/ 2147483647 w 1816"/>
                <a:gd name="T77" fmla="*/ 2147483647 h 1816"/>
                <a:gd name="T78" fmla="*/ 2147483647 w 1816"/>
                <a:gd name="T79" fmla="*/ 2147483647 h 1816"/>
                <a:gd name="T80" fmla="*/ 2147483647 w 1816"/>
                <a:gd name="T81" fmla="*/ 2147483647 h 1816"/>
                <a:gd name="T82" fmla="*/ 2147483647 w 1816"/>
                <a:gd name="T83" fmla="*/ 2147483647 h 1816"/>
                <a:gd name="T84" fmla="*/ 2147483647 w 1816"/>
                <a:gd name="T85" fmla="*/ 2147483647 h 1816"/>
                <a:gd name="T86" fmla="*/ 2147483647 w 1816"/>
                <a:gd name="T87" fmla="*/ 2147483647 h 1816"/>
                <a:gd name="T88" fmla="*/ 2147483647 w 1816"/>
                <a:gd name="T89" fmla="*/ 2147483647 h 1816"/>
                <a:gd name="T90" fmla="*/ 2147483647 w 1816"/>
                <a:gd name="T91" fmla="*/ 2147483647 h 1816"/>
                <a:gd name="T92" fmla="*/ 2147483647 w 1816"/>
                <a:gd name="T93" fmla="*/ 2147483647 h 1816"/>
                <a:gd name="T94" fmla="*/ 2147483647 w 1816"/>
                <a:gd name="T95" fmla="*/ 2147483647 h 1816"/>
                <a:gd name="T96" fmla="*/ 2147483647 w 1816"/>
                <a:gd name="T97" fmla="*/ 2147483647 h 1816"/>
                <a:gd name="T98" fmla="*/ 2147483647 w 1816"/>
                <a:gd name="T99" fmla="*/ 2147483647 h 1816"/>
                <a:gd name="T100" fmla="*/ 2147483647 w 1816"/>
                <a:gd name="T101" fmla="*/ 2147483647 h 1816"/>
                <a:gd name="T102" fmla="*/ 2147483647 w 1816"/>
                <a:gd name="T103" fmla="*/ 2147483647 h 18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816"/>
                <a:gd name="T157" fmla="*/ 0 h 1816"/>
                <a:gd name="T158" fmla="*/ 1816 w 1816"/>
                <a:gd name="T159" fmla="*/ 1816 h 18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816" h="1816">
                  <a:moveTo>
                    <a:pt x="1816" y="978"/>
                  </a:moveTo>
                  <a:lnTo>
                    <a:pt x="1816" y="836"/>
                  </a:lnTo>
                  <a:lnTo>
                    <a:pt x="1710" y="836"/>
                  </a:lnTo>
                  <a:lnTo>
                    <a:pt x="1706" y="792"/>
                  </a:lnTo>
                  <a:lnTo>
                    <a:pt x="1698" y="750"/>
                  </a:lnTo>
                  <a:lnTo>
                    <a:pt x="1688" y="708"/>
                  </a:lnTo>
                  <a:lnTo>
                    <a:pt x="1678" y="666"/>
                  </a:lnTo>
                  <a:lnTo>
                    <a:pt x="1774" y="626"/>
                  </a:lnTo>
                  <a:lnTo>
                    <a:pt x="1718" y="494"/>
                  </a:lnTo>
                  <a:lnTo>
                    <a:pt x="1622" y="534"/>
                  </a:lnTo>
                  <a:lnTo>
                    <a:pt x="1602" y="496"/>
                  </a:lnTo>
                  <a:lnTo>
                    <a:pt x="1578" y="460"/>
                  </a:lnTo>
                  <a:lnTo>
                    <a:pt x="1552" y="424"/>
                  </a:lnTo>
                  <a:lnTo>
                    <a:pt x="1526" y="390"/>
                  </a:lnTo>
                  <a:lnTo>
                    <a:pt x="1600" y="316"/>
                  </a:lnTo>
                  <a:lnTo>
                    <a:pt x="1498" y="216"/>
                  </a:lnTo>
                  <a:lnTo>
                    <a:pt x="1426" y="290"/>
                  </a:lnTo>
                  <a:lnTo>
                    <a:pt x="1392" y="262"/>
                  </a:lnTo>
                  <a:lnTo>
                    <a:pt x="1356" y="236"/>
                  </a:lnTo>
                  <a:lnTo>
                    <a:pt x="1318" y="214"/>
                  </a:lnTo>
                  <a:lnTo>
                    <a:pt x="1280" y="192"/>
                  </a:lnTo>
                  <a:lnTo>
                    <a:pt x="1320" y="96"/>
                  </a:lnTo>
                  <a:lnTo>
                    <a:pt x="1188" y="42"/>
                  </a:lnTo>
                  <a:lnTo>
                    <a:pt x="1150" y="138"/>
                  </a:lnTo>
                  <a:lnTo>
                    <a:pt x="1108" y="126"/>
                  </a:lnTo>
                  <a:lnTo>
                    <a:pt x="1066" y="116"/>
                  </a:lnTo>
                  <a:lnTo>
                    <a:pt x="1022" y="110"/>
                  </a:lnTo>
                  <a:lnTo>
                    <a:pt x="978" y="104"/>
                  </a:lnTo>
                  <a:lnTo>
                    <a:pt x="978" y="0"/>
                  </a:lnTo>
                  <a:lnTo>
                    <a:pt x="836" y="0"/>
                  </a:lnTo>
                  <a:lnTo>
                    <a:pt x="836" y="104"/>
                  </a:lnTo>
                  <a:lnTo>
                    <a:pt x="792" y="110"/>
                  </a:lnTo>
                  <a:lnTo>
                    <a:pt x="750" y="116"/>
                  </a:lnTo>
                  <a:lnTo>
                    <a:pt x="706" y="126"/>
                  </a:lnTo>
                  <a:lnTo>
                    <a:pt x="666" y="138"/>
                  </a:lnTo>
                  <a:lnTo>
                    <a:pt x="626" y="42"/>
                  </a:lnTo>
                  <a:lnTo>
                    <a:pt x="494" y="96"/>
                  </a:lnTo>
                  <a:lnTo>
                    <a:pt x="534" y="192"/>
                  </a:lnTo>
                  <a:lnTo>
                    <a:pt x="496" y="214"/>
                  </a:lnTo>
                  <a:lnTo>
                    <a:pt x="460" y="236"/>
                  </a:lnTo>
                  <a:lnTo>
                    <a:pt x="424" y="262"/>
                  </a:lnTo>
                  <a:lnTo>
                    <a:pt x="390" y="290"/>
                  </a:lnTo>
                  <a:lnTo>
                    <a:pt x="316" y="216"/>
                  </a:lnTo>
                  <a:lnTo>
                    <a:pt x="216" y="316"/>
                  </a:lnTo>
                  <a:lnTo>
                    <a:pt x="288" y="390"/>
                  </a:lnTo>
                  <a:lnTo>
                    <a:pt x="262" y="424"/>
                  </a:lnTo>
                  <a:lnTo>
                    <a:pt x="236" y="460"/>
                  </a:lnTo>
                  <a:lnTo>
                    <a:pt x="214" y="496"/>
                  </a:lnTo>
                  <a:lnTo>
                    <a:pt x="192" y="534"/>
                  </a:lnTo>
                  <a:lnTo>
                    <a:pt x="96" y="494"/>
                  </a:lnTo>
                  <a:lnTo>
                    <a:pt x="42" y="626"/>
                  </a:lnTo>
                  <a:lnTo>
                    <a:pt x="138" y="666"/>
                  </a:lnTo>
                  <a:lnTo>
                    <a:pt x="126" y="708"/>
                  </a:lnTo>
                  <a:lnTo>
                    <a:pt x="116" y="750"/>
                  </a:lnTo>
                  <a:lnTo>
                    <a:pt x="108" y="792"/>
                  </a:lnTo>
                  <a:lnTo>
                    <a:pt x="104" y="836"/>
                  </a:lnTo>
                  <a:lnTo>
                    <a:pt x="0" y="836"/>
                  </a:lnTo>
                  <a:lnTo>
                    <a:pt x="0" y="978"/>
                  </a:lnTo>
                  <a:lnTo>
                    <a:pt x="104" y="978"/>
                  </a:lnTo>
                  <a:lnTo>
                    <a:pt x="108" y="1022"/>
                  </a:lnTo>
                  <a:lnTo>
                    <a:pt x="116" y="1066"/>
                  </a:lnTo>
                  <a:lnTo>
                    <a:pt x="126" y="1108"/>
                  </a:lnTo>
                  <a:lnTo>
                    <a:pt x="138" y="1150"/>
                  </a:lnTo>
                  <a:lnTo>
                    <a:pt x="42" y="1190"/>
                  </a:lnTo>
                  <a:lnTo>
                    <a:pt x="96" y="1320"/>
                  </a:lnTo>
                  <a:lnTo>
                    <a:pt x="192" y="1280"/>
                  </a:lnTo>
                  <a:lnTo>
                    <a:pt x="214" y="1320"/>
                  </a:lnTo>
                  <a:lnTo>
                    <a:pt x="236" y="1356"/>
                  </a:lnTo>
                  <a:lnTo>
                    <a:pt x="262" y="1392"/>
                  </a:lnTo>
                  <a:lnTo>
                    <a:pt x="288" y="1426"/>
                  </a:lnTo>
                  <a:lnTo>
                    <a:pt x="216" y="1500"/>
                  </a:lnTo>
                  <a:lnTo>
                    <a:pt x="316" y="1600"/>
                  </a:lnTo>
                  <a:lnTo>
                    <a:pt x="390" y="1526"/>
                  </a:lnTo>
                  <a:lnTo>
                    <a:pt x="424" y="1554"/>
                  </a:lnTo>
                  <a:lnTo>
                    <a:pt x="460" y="1578"/>
                  </a:lnTo>
                  <a:lnTo>
                    <a:pt x="496" y="1602"/>
                  </a:lnTo>
                  <a:lnTo>
                    <a:pt x="534" y="1622"/>
                  </a:lnTo>
                  <a:lnTo>
                    <a:pt x="494" y="1718"/>
                  </a:lnTo>
                  <a:lnTo>
                    <a:pt x="626" y="1774"/>
                  </a:lnTo>
                  <a:lnTo>
                    <a:pt x="666" y="1678"/>
                  </a:lnTo>
                  <a:lnTo>
                    <a:pt x="706" y="1690"/>
                  </a:lnTo>
                  <a:lnTo>
                    <a:pt x="750" y="1698"/>
                  </a:lnTo>
                  <a:lnTo>
                    <a:pt x="792" y="1706"/>
                  </a:lnTo>
                  <a:lnTo>
                    <a:pt x="836" y="1712"/>
                  </a:lnTo>
                  <a:lnTo>
                    <a:pt x="836" y="1816"/>
                  </a:lnTo>
                  <a:lnTo>
                    <a:pt x="978" y="1816"/>
                  </a:lnTo>
                  <a:lnTo>
                    <a:pt x="978" y="1712"/>
                  </a:lnTo>
                  <a:lnTo>
                    <a:pt x="1022" y="1706"/>
                  </a:lnTo>
                  <a:lnTo>
                    <a:pt x="1066" y="1698"/>
                  </a:lnTo>
                  <a:lnTo>
                    <a:pt x="1108" y="1690"/>
                  </a:lnTo>
                  <a:lnTo>
                    <a:pt x="1150" y="1678"/>
                  </a:lnTo>
                  <a:lnTo>
                    <a:pt x="1188" y="1774"/>
                  </a:lnTo>
                  <a:lnTo>
                    <a:pt x="1320" y="1718"/>
                  </a:lnTo>
                  <a:lnTo>
                    <a:pt x="1280" y="1622"/>
                  </a:lnTo>
                  <a:lnTo>
                    <a:pt x="1318" y="1602"/>
                  </a:lnTo>
                  <a:lnTo>
                    <a:pt x="1356" y="1578"/>
                  </a:lnTo>
                  <a:lnTo>
                    <a:pt x="1392" y="1554"/>
                  </a:lnTo>
                  <a:lnTo>
                    <a:pt x="1426" y="1526"/>
                  </a:lnTo>
                  <a:lnTo>
                    <a:pt x="1498" y="1600"/>
                  </a:lnTo>
                  <a:lnTo>
                    <a:pt x="1600" y="1500"/>
                  </a:lnTo>
                  <a:lnTo>
                    <a:pt x="1526" y="1426"/>
                  </a:lnTo>
                  <a:lnTo>
                    <a:pt x="1552" y="1392"/>
                  </a:lnTo>
                  <a:lnTo>
                    <a:pt x="1578" y="1356"/>
                  </a:lnTo>
                  <a:lnTo>
                    <a:pt x="1602" y="1320"/>
                  </a:lnTo>
                  <a:lnTo>
                    <a:pt x="1622" y="1280"/>
                  </a:lnTo>
                  <a:lnTo>
                    <a:pt x="1718" y="1320"/>
                  </a:lnTo>
                  <a:lnTo>
                    <a:pt x="1774" y="1190"/>
                  </a:lnTo>
                  <a:lnTo>
                    <a:pt x="1678" y="1150"/>
                  </a:lnTo>
                  <a:lnTo>
                    <a:pt x="1688" y="1108"/>
                  </a:lnTo>
                  <a:lnTo>
                    <a:pt x="1698" y="1066"/>
                  </a:lnTo>
                  <a:lnTo>
                    <a:pt x="1706" y="1022"/>
                  </a:lnTo>
                  <a:lnTo>
                    <a:pt x="1710" y="978"/>
                  </a:lnTo>
                  <a:lnTo>
                    <a:pt x="1816" y="978"/>
                  </a:lnTo>
                  <a:close/>
                  <a:moveTo>
                    <a:pt x="908" y="1614"/>
                  </a:moveTo>
                  <a:lnTo>
                    <a:pt x="908" y="1614"/>
                  </a:lnTo>
                  <a:lnTo>
                    <a:pt x="872" y="1612"/>
                  </a:lnTo>
                  <a:lnTo>
                    <a:pt x="836" y="1610"/>
                  </a:lnTo>
                  <a:lnTo>
                    <a:pt x="800" y="1606"/>
                  </a:lnTo>
                  <a:lnTo>
                    <a:pt x="766" y="1600"/>
                  </a:lnTo>
                  <a:lnTo>
                    <a:pt x="730" y="1592"/>
                  </a:lnTo>
                  <a:lnTo>
                    <a:pt x="698" y="1582"/>
                  </a:lnTo>
                  <a:lnTo>
                    <a:pt x="664" y="1570"/>
                  </a:lnTo>
                  <a:lnTo>
                    <a:pt x="632" y="1558"/>
                  </a:lnTo>
                  <a:lnTo>
                    <a:pt x="602" y="1544"/>
                  </a:lnTo>
                  <a:lnTo>
                    <a:pt x="570" y="1528"/>
                  </a:lnTo>
                  <a:lnTo>
                    <a:pt x="542" y="1512"/>
                  </a:lnTo>
                  <a:lnTo>
                    <a:pt x="512" y="1492"/>
                  </a:lnTo>
                  <a:lnTo>
                    <a:pt x="484" y="1474"/>
                  </a:lnTo>
                  <a:lnTo>
                    <a:pt x="458" y="1452"/>
                  </a:lnTo>
                  <a:lnTo>
                    <a:pt x="432" y="1430"/>
                  </a:lnTo>
                  <a:lnTo>
                    <a:pt x="408" y="1406"/>
                  </a:lnTo>
                  <a:lnTo>
                    <a:pt x="384" y="1382"/>
                  </a:lnTo>
                  <a:lnTo>
                    <a:pt x="362" y="1356"/>
                  </a:lnTo>
                  <a:lnTo>
                    <a:pt x="342" y="1330"/>
                  </a:lnTo>
                  <a:lnTo>
                    <a:pt x="322" y="1302"/>
                  </a:lnTo>
                  <a:lnTo>
                    <a:pt x="304" y="1274"/>
                  </a:lnTo>
                  <a:lnTo>
                    <a:pt x="286" y="1244"/>
                  </a:lnTo>
                  <a:lnTo>
                    <a:pt x="272" y="1214"/>
                  </a:lnTo>
                  <a:lnTo>
                    <a:pt x="256" y="1182"/>
                  </a:lnTo>
                  <a:lnTo>
                    <a:pt x="244" y="1150"/>
                  </a:lnTo>
                  <a:lnTo>
                    <a:pt x="234" y="1118"/>
                  </a:lnTo>
                  <a:lnTo>
                    <a:pt x="224" y="1084"/>
                  </a:lnTo>
                  <a:lnTo>
                    <a:pt x="216" y="1050"/>
                  </a:lnTo>
                  <a:lnTo>
                    <a:pt x="210" y="1016"/>
                  </a:lnTo>
                  <a:lnTo>
                    <a:pt x="206" y="980"/>
                  </a:lnTo>
                  <a:lnTo>
                    <a:pt x="202" y="944"/>
                  </a:lnTo>
                  <a:lnTo>
                    <a:pt x="202" y="908"/>
                  </a:lnTo>
                  <a:lnTo>
                    <a:pt x="202" y="872"/>
                  </a:lnTo>
                  <a:lnTo>
                    <a:pt x="206" y="836"/>
                  </a:lnTo>
                  <a:lnTo>
                    <a:pt x="210" y="800"/>
                  </a:lnTo>
                  <a:lnTo>
                    <a:pt x="216" y="766"/>
                  </a:lnTo>
                  <a:lnTo>
                    <a:pt x="224" y="732"/>
                  </a:lnTo>
                  <a:lnTo>
                    <a:pt x="234" y="698"/>
                  </a:lnTo>
                  <a:lnTo>
                    <a:pt x="244" y="664"/>
                  </a:lnTo>
                  <a:lnTo>
                    <a:pt x="256" y="632"/>
                  </a:lnTo>
                  <a:lnTo>
                    <a:pt x="272" y="602"/>
                  </a:lnTo>
                  <a:lnTo>
                    <a:pt x="286" y="572"/>
                  </a:lnTo>
                  <a:lnTo>
                    <a:pt x="304" y="542"/>
                  </a:lnTo>
                  <a:lnTo>
                    <a:pt x="322" y="512"/>
                  </a:lnTo>
                  <a:lnTo>
                    <a:pt x="342" y="486"/>
                  </a:lnTo>
                  <a:lnTo>
                    <a:pt x="362" y="458"/>
                  </a:lnTo>
                  <a:lnTo>
                    <a:pt x="384" y="432"/>
                  </a:lnTo>
                  <a:lnTo>
                    <a:pt x="408" y="408"/>
                  </a:lnTo>
                  <a:lnTo>
                    <a:pt x="432" y="386"/>
                  </a:lnTo>
                  <a:lnTo>
                    <a:pt x="458" y="362"/>
                  </a:lnTo>
                  <a:lnTo>
                    <a:pt x="484" y="342"/>
                  </a:lnTo>
                  <a:lnTo>
                    <a:pt x="512" y="322"/>
                  </a:lnTo>
                  <a:lnTo>
                    <a:pt x="542" y="304"/>
                  </a:lnTo>
                  <a:lnTo>
                    <a:pt x="570" y="286"/>
                  </a:lnTo>
                  <a:lnTo>
                    <a:pt x="602" y="272"/>
                  </a:lnTo>
                  <a:lnTo>
                    <a:pt x="632" y="258"/>
                  </a:lnTo>
                  <a:lnTo>
                    <a:pt x="664" y="244"/>
                  </a:lnTo>
                  <a:lnTo>
                    <a:pt x="698" y="234"/>
                  </a:lnTo>
                  <a:lnTo>
                    <a:pt x="730" y="224"/>
                  </a:lnTo>
                  <a:lnTo>
                    <a:pt x="766" y="216"/>
                  </a:lnTo>
                  <a:lnTo>
                    <a:pt x="800" y="210"/>
                  </a:lnTo>
                  <a:lnTo>
                    <a:pt x="836" y="206"/>
                  </a:lnTo>
                  <a:lnTo>
                    <a:pt x="872" y="202"/>
                  </a:lnTo>
                  <a:lnTo>
                    <a:pt x="908" y="202"/>
                  </a:lnTo>
                  <a:lnTo>
                    <a:pt x="944" y="202"/>
                  </a:lnTo>
                  <a:lnTo>
                    <a:pt x="980" y="206"/>
                  </a:lnTo>
                  <a:lnTo>
                    <a:pt x="1014" y="210"/>
                  </a:lnTo>
                  <a:lnTo>
                    <a:pt x="1050" y="216"/>
                  </a:lnTo>
                  <a:lnTo>
                    <a:pt x="1084" y="224"/>
                  </a:lnTo>
                  <a:lnTo>
                    <a:pt x="1118" y="234"/>
                  </a:lnTo>
                  <a:lnTo>
                    <a:pt x="1150" y="244"/>
                  </a:lnTo>
                  <a:lnTo>
                    <a:pt x="1182" y="258"/>
                  </a:lnTo>
                  <a:lnTo>
                    <a:pt x="1214" y="272"/>
                  </a:lnTo>
                  <a:lnTo>
                    <a:pt x="1244" y="286"/>
                  </a:lnTo>
                  <a:lnTo>
                    <a:pt x="1274" y="304"/>
                  </a:lnTo>
                  <a:lnTo>
                    <a:pt x="1302" y="322"/>
                  </a:lnTo>
                  <a:lnTo>
                    <a:pt x="1330" y="342"/>
                  </a:lnTo>
                  <a:lnTo>
                    <a:pt x="1356" y="362"/>
                  </a:lnTo>
                  <a:lnTo>
                    <a:pt x="1382" y="386"/>
                  </a:lnTo>
                  <a:lnTo>
                    <a:pt x="1406" y="408"/>
                  </a:lnTo>
                  <a:lnTo>
                    <a:pt x="1430" y="432"/>
                  </a:lnTo>
                  <a:lnTo>
                    <a:pt x="1452" y="458"/>
                  </a:lnTo>
                  <a:lnTo>
                    <a:pt x="1474" y="486"/>
                  </a:lnTo>
                  <a:lnTo>
                    <a:pt x="1492" y="512"/>
                  </a:lnTo>
                  <a:lnTo>
                    <a:pt x="1512" y="542"/>
                  </a:lnTo>
                  <a:lnTo>
                    <a:pt x="1528" y="572"/>
                  </a:lnTo>
                  <a:lnTo>
                    <a:pt x="1544" y="602"/>
                  </a:lnTo>
                  <a:lnTo>
                    <a:pt x="1558" y="632"/>
                  </a:lnTo>
                  <a:lnTo>
                    <a:pt x="1570" y="664"/>
                  </a:lnTo>
                  <a:lnTo>
                    <a:pt x="1582" y="698"/>
                  </a:lnTo>
                  <a:lnTo>
                    <a:pt x="1592" y="732"/>
                  </a:lnTo>
                  <a:lnTo>
                    <a:pt x="1598" y="766"/>
                  </a:lnTo>
                  <a:lnTo>
                    <a:pt x="1606" y="800"/>
                  </a:lnTo>
                  <a:lnTo>
                    <a:pt x="1610" y="836"/>
                  </a:lnTo>
                  <a:lnTo>
                    <a:pt x="1612" y="872"/>
                  </a:lnTo>
                  <a:lnTo>
                    <a:pt x="1614" y="908"/>
                  </a:lnTo>
                  <a:lnTo>
                    <a:pt x="1612" y="944"/>
                  </a:lnTo>
                  <a:lnTo>
                    <a:pt x="1610" y="980"/>
                  </a:lnTo>
                  <a:lnTo>
                    <a:pt x="1606" y="1016"/>
                  </a:lnTo>
                  <a:lnTo>
                    <a:pt x="1598" y="1050"/>
                  </a:lnTo>
                  <a:lnTo>
                    <a:pt x="1592" y="1084"/>
                  </a:lnTo>
                  <a:lnTo>
                    <a:pt x="1582" y="1118"/>
                  </a:lnTo>
                  <a:lnTo>
                    <a:pt x="1570" y="1150"/>
                  </a:lnTo>
                  <a:lnTo>
                    <a:pt x="1558" y="1182"/>
                  </a:lnTo>
                  <a:lnTo>
                    <a:pt x="1544" y="1214"/>
                  </a:lnTo>
                  <a:lnTo>
                    <a:pt x="1528" y="1244"/>
                  </a:lnTo>
                  <a:lnTo>
                    <a:pt x="1512" y="1274"/>
                  </a:lnTo>
                  <a:lnTo>
                    <a:pt x="1492" y="1302"/>
                  </a:lnTo>
                  <a:lnTo>
                    <a:pt x="1474" y="1330"/>
                  </a:lnTo>
                  <a:lnTo>
                    <a:pt x="1452" y="1356"/>
                  </a:lnTo>
                  <a:lnTo>
                    <a:pt x="1430" y="1382"/>
                  </a:lnTo>
                  <a:lnTo>
                    <a:pt x="1406" y="1406"/>
                  </a:lnTo>
                  <a:lnTo>
                    <a:pt x="1382" y="1430"/>
                  </a:lnTo>
                  <a:lnTo>
                    <a:pt x="1356" y="1452"/>
                  </a:lnTo>
                  <a:lnTo>
                    <a:pt x="1330" y="1474"/>
                  </a:lnTo>
                  <a:lnTo>
                    <a:pt x="1302" y="1492"/>
                  </a:lnTo>
                  <a:lnTo>
                    <a:pt x="1274" y="1512"/>
                  </a:lnTo>
                  <a:lnTo>
                    <a:pt x="1244" y="1528"/>
                  </a:lnTo>
                  <a:lnTo>
                    <a:pt x="1214" y="1544"/>
                  </a:lnTo>
                  <a:lnTo>
                    <a:pt x="1182" y="1558"/>
                  </a:lnTo>
                  <a:lnTo>
                    <a:pt x="1150" y="1570"/>
                  </a:lnTo>
                  <a:lnTo>
                    <a:pt x="1118" y="1582"/>
                  </a:lnTo>
                  <a:lnTo>
                    <a:pt x="1084" y="1592"/>
                  </a:lnTo>
                  <a:lnTo>
                    <a:pt x="1050" y="1600"/>
                  </a:lnTo>
                  <a:lnTo>
                    <a:pt x="1014" y="1606"/>
                  </a:lnTo>
                  <a:lnTo>
                    <a:pt x="980" y="1610"/>
                  </a:lnTo>
                  <a:lnTo>
                    <a:pt x="944" y="1612"/>
                  </a:lnTo>
                  <a:lnTo>
                    <a:pt x="908" y="1614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prstDash val="sysDot"/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37" name="Freeform 675"/>
            <p:cNvSpPr>
              <a:spLocks noEditPoints="1"/>
            </p:cNvSpPr>
            <p:nvPr/>
          </p:nvSpPr>
          <p:spPr bwMode="auto">
            <a:xfrm rot="21275257">
              <a:off x="940378" y="1649334"/>
              <a:ext cx="3429000" cy="3429000"/>
            </a:xfrm>
            <a:custGeom>
              <a:avLst/>
              <a:gdLst>
                <a:gd name="T0" fmla="*/ 2147483647 w 2622"/>
                <a:gd name="T1" fmla="*/ 2147483647 h 2622"/>
                <a:gd name="T2" fmla="*/ 2147483647 w 2622"/>
                <a:gd name="T3" fmla="*/ 2147483647 h 2622"/>
                <a:gd name="T4" fmla="*/ 2147483647 w 2622"/>
                <a:gd name="T5" fmla="*/ 2147483647 h 2622"/>
                <a:gd name="T6" fmla="*/ 2147483647 w 2622"/>
                <a:gd name="T7" fmla="*/ 2147483647 h 2622"/>
                <a:gd name="T8" fmla="*/ 2147483647 w 2622"/>
                <a:gd name="T9" fmla="*/ 2147483647 h 2622"/>
                <a:gd name="T10" fmla="*/ 2147483647 w 2622"/>
                <a:gd name="T11" fmla="*/ 2147483647 h 2622"/>
                <a:gd name="T12" fmla="*/ 2147483647 w 2622"/>
                <a:gd name="T13" fmla="*/ 2147483647 h 2622"/>
                <a:gd name="T14" fmla="*/ 2147483647 w 2622"/>
                <a:gd name="T15" fmla="*/ 2147483647 h 2622"/>
                <a:gd name="T16" fmla="*/ 2147483647 w 2622"/>
                <a:gd name="T17" fmla="*/ 2147483647 h 2622"/>
                <a:gd name="T18" fmla="*/ 2147483647 w 2622"/>
                <a:gd name="T19" fmla="*/ 2147483647 h 2622"/>
                <a:gd name="T20" fmla="*/ 2147483647 w 2622"/>
                <a:gd name="T21" fmla="*/ 2147483647 h 2622"/>
                <a:gd name="T22" fmla="*/ 2147483647 w 2622"/>
                <a:gd name="T23" fmla="*/ 2147483647 h 2622"/>
                <a:gd name="T24" fmla="*/ 2147483647 w 2622"/>
                <a:gd name="T25" fmla="*/ 2147483647 h 2622"/>
                <a:gd name="T26" fmla="*/ 2147483647 w 2622"/>
                <a:gd name="T27" fmla="*/ 2147483647 h 2622"/>
                <a:gd name="T28" fmla="*/ 2147483647 w 2622"/>
                <a:gd name="T29" fmla="*/ 2147483647 h 2622"/>
                <a:gd name="T30" fmla="*/ 2147483647 w 2622"/>
                <a:gd name="T31" fmla="*/ 2147483647 h 2622"/>
                <a:gd name="T32" fmla="*/ 2147483647 w 2622"/>
                <a:gd name="T33" fmla="*/ 2147483647 h 2622"/>
                <a:gd name="T34" fmla="*/ 2147483647 w 2622"/>
                <a:gd name="T35" fmla="*/ 2147483647 h 2622"/>
                <a:gd name="T36" fmla="*/ 2147483647 w 2622"/>
                <a:gd name="T37" fmla="*/ 2147483647 h 2622"/>
                <a:gd name="T38" fmla="*/ 2147483647 w 2622"/>
                <a:gd name="T39" fmla="*/ 2147483647 h 2622"/>
                <a:gd name="T40" fmla="*/ 2147483647 w 2622"/>
                <a:gd name="T41" fmla="*/ 2147483647 h 2622"/>
                <a:gd name="T42" fmla="*/ 2147483647 w 2622"/>
                <a:gd name="T43" fmla="*/ 2147483647 h 2622"/>
                <a:gd name="T44" fmla="*/ 2147483647 w 2622"/>
                <a:gd name="T45" fmla="*/ 2147483647 h 2622"/>
                <a:gd name="T46" fmla="*/ 2147483647 w 2622"/>
                <a:gd name="T47" fmla="*/ 2147483647 h 2622"/>
                <a:gd name="T48" fmla="*/ 2147483647 w 2622"/>
                <a:gd name="T49" fmla="*/ 2147483647 h 2622"/>
                <a:gd name="T50" fmla="*/ 2147483647 w 2622"/>
                <a:gd name="T51" fmla="*/ 2147483647 h 2622"/>
                <a:gd name="T52" fmla="*/ 2147483647 w 2622"/>
                <a:gd name="T53" fmla="*/ 2147483647 h 2622"/>
                <a:gd name="T54" fmla="*/ 2147483647 w 2622"/>
                <a:gd name="T55" fmla="*/ 2147483647 h 2622"/>
                <a:gd name="T56" fmla="*/ 2147483647 w 2622"/>
                <a:gd name="T57" fmla="*/ 2147483647 h 2622"/>
                <a:gd name="T58" fmla="*/ 2147483647 w 2622"/>
                <a:gd name="T59" fmla="*/ 2147483647 h 2622"/>
                <a:gd name="T60" fmla="*/ 2147483647 w 2622"/>
                <a:gd name="T61" fmla="*/ 2147483647 h 2622"/>
                <a:gd name="T62" fmla="*/ 2147483647 w 2622"/>
                <a:gd name="T63" fmla="*/ 2147483647 h 2622"/>
                <a:gd name="T64" fmla="*/ 2147483647 w 2622"/>
                <a:gd name="T65" fmla="*/ 2147483647 h 2622"/>
                <a:gd name="T66" fmla="*/ 2147483647 w 2622"/>
                <a:gd name="T67" fmla="*/ 2147483647 h 2622"/>
                <a:gd name="T68" fmla="*/ 2147483647 w 2622"/>
                <a:gd name="T69" fmla="*/ 2147483647 h 2622"/>
                <a:gd name="T70" fmla="*/ 2147483647 w 2622"/>
                <a:gd name="T71" fmla="*/ 2147483647 h 2622"/>
                <a:gd name="T72" fmla="*/ 2147483647 w 2622"/>
                <a:gd name="T73" fmla="*/ 2147483647 h 2622"/>
                <a:gd name="T74" fmla="*/ 2147483647 w 2622"/>
                <a:gd name="T75" fmla="*/ 2147483647 h 2622"/>
                <a:gd name="T76" fmla="*/ 2147483647 w 2622"/>
                <a:gd name="T77" fmla="*/ 2147483647 h 2622"/>
                <a:gd name="T78" fmla="*/ 2147483647 w 2622"/>
                <a:gd name="T79" fmla="*/ 2147483647 h 2622"/>
                <a:gd name="T80" fmla="*/ 2147483647 w 2622"/>
                <a:gd name="T81" fmla="*/ 2147483647 h 2622"/>
                <a:gd name="T82" fmla="*/ 2147483647 w 2622"/>
                <a:gd name="T83" fmla="*/ 2147483647 h 2622"/>
                <a:gd name="T84" fmla="*/ 2147483647 w 2622"/>
                <a:gd name="T85" fmla="*/ 2147483647 h 2622"/>
                <a:gd name="T86" fmla="*/ 2147483647 w 2622"/>
                <a:gd name="T87" fmla="*/ 2147483647 h 2622"/>
                <a:gd name="T88" fmla="*/ 2147483647 w 2622"/>
                <a:gd name="T89" fmla="*/ 2147483647 h 2622"/>
                <a:gd name="T90" fmla="*/ 2147483647 w 2622"/>
                <a:gd name="T91" fmla="*/ 2147483647 h 2622"/>
                <a:gd name="T92" fmla="*/ 2147483647 w 2622"/>
                <a:gd name="T93" fmla="*/ 2147483647 h 2622"/>
                <a:gd name="T94" fmla="*/ 2147483647 w 2622"/>
                <a:gd name="T95" fmla="*/ 2147483647 h 2622"/>
                <a:gd name="T96" fmla="*/ 2147483647 w 2622"/>
                <a:gd name="T97" fmla="*/ 2147483647 h 2622"/>
                <a:gd name="T98" fmla="*/ 2147483647 w 2622"/>
                <a:gd name="T99" fmla="*/ 2147483647 h 2622"/>
                <a:gd name="T100" fmla="*/ 2147483647 w 2622"/>
                <a:gd name="T101" fmla="*/ 2147483647 h 2622"/>
                <a:gd name="T102" fmla="*/ 2147483647 w 2622"/>
                <a:gd name="T103" fmla="*/ 2147483647 h 2622"/>
                <a:gd name="T104" fmla="*/ 2147483647 w 2622"/>
                <a:gd name="T105" fmla="*/ 2147483647 h 2622"/>
                <a:gd name="T106" fmla="*/ 2147483647 w 2622"/>
                <a:gd name="T107" fmla="*/ 2147483647 h 26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622"/>
                <a:gd name="T163" fmla="*/ 0 h 2622"/>
                <a:gd name="T164" fmla="*/ 2622 w 2622"/>
                <a:gd name="T165" fmla="*/ 2622 h 262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622" h="2622">
                  <a:moveTo>
                    <a:pt x="2622" y="1382"/>
                  </a:moveTo>
                  <a:lnTo>
                    <a:pt x="2622" y="1240"/>
                  </a:lnTo>
                  <a:lnTo>
                    <a:pt x="2520" y="1240"/>
                  </a:lnTo>
                  <a:lnTo>
                    <a:pt x="2516" y="1196"/>
                  </a:lnTo>
                  <a:lnTo>
                    <a:pt x="2512" y="1152"/>
                  </a:lnTo>
                  <a:lnTo>
                    <a:pt x="2506" y="1110"/>
                  </a:lnTo>
                  <a:lnTo>
                    <a:pt x="2498" y="1068"/>
                  </a:lnTo>
                  <a:lnTo>
                    <a:pt x="2596" y="1040"/>
                  </a:lnTo>
                  <a:lnTo>
                    <a:pt x="2560" y="904"/>
                  </a:lnTo>
                  <a:lnTo>
                    <a:pt x="2460" y="930"/>
                  </a:lnTo>
                  <a:lnTo>
                    <a:pt x="2446" y="888"/>
                  </a:lnTo>
                  <a:lnTo>
                    <a:pt x="2430" y="848"/>
                  </a:lnTo>
                  <a:lnTo>
                    <a:pt x="2412" y="808"/>
                  </a:lnTo>
                  <a:lnTo>
                    <a:pt x="2394" y="768"/>
                  </a:lnTo>
                  <a:lnTo>
                    <a:pt x="2482" y="718"/>
                  </a:lnTo>
                  <a:lnTo>
                    <a:pt x="2412" y="594"/>
                  </a:lnTo>
                  <a:lnTo>
                    <a:pt x="2322" y="646"/>
                  </a:lnTo>
                  <a:lnTo>
                    <a:pt x="2298" y="610"/>
                  </a:lnTo>
                  <a:lnTo>
                    <a:pt x="2272" y="574"/>
                  </a:lnTo>
                  <a:lnTo>
                    <a:pt x="2244" y="540"/>
                  </a:lnTo>
                  <a:lnTo>
                    <a:pt x="2216" y="508"/>
                  </a:lnTo>
                  <a:lnTo>
                    <a:pt x="2290" y="434"/>
                  </a:lnTo>
                  <a:lnTo>
                    <a:pt x="2188" y="334"/>
                  </a:lnTo>
                  <a:lnTo>
                    <a:pt x="2116" y="406"/>
                  </a:lnTo>
                  <a:lnTo>
                    <a:pt x="2082" y="378"/>
                  </a:lnTo>
                  <a:lnTo>
                    <a:pt x="2048" y="352"/>
                  </a:lnTo>
                  <a:lnTo>
                    <a:pt x="2014" y="326"/>
                  </a:lnTo>
                  <a:lnTo>
                    <a:pt x="1978" y="300"/>
                  </a:lnTo>
                  <a:lnTo>
                    <a:pt x="2028" y="212"/>
                  </a:lnTo>
                  <a:lnTo>
                    <a:pt x="1906" y="140"/>
                  </a:lnTo>
                  <a:lnTo>
                    <a:pt x="1854" y="230"/>
                  </a:lnTo>
                  <a:lnTo>
                    <a:pt x="1816" y="210"/>
                  </a:lnTo>
                  <a:lnTo>
                    <a:pt x="1776" y="194"/>
                  </a:lnTo>
                  <a:lnTo>
                    <a:pt x="1734" y="178"/>
                  </a:lnTo>
                  <a:lnTo>
                    <a:pt x="1694" y="162"/>
                  </a:lnTo>
                  <a:lnTo>
                    <a:pt x="1720" y="64"/>
                  </a:lnTo>
                  <a:lnTo>
                    <a:pt x="1582" y="26"/>
                  </a:lnTo>
                  <a:lnTo>
                    <a:pt x="1556" y="126"/>
                  </a:lnTo>
                  <a:lnTo>
                    <a:pt x="1514" y="118"/>
                  </a:lnTo>
                  <a:lnTo>
                    <a:pt x="1470" y="112"/>
                  </a:lnTo>
                  <a:lnTo>
                    <a:pt x="1426" y="106"/>
                  </a:lnTo>
                  <a:lnTo>
                    <a:pt x="1382" y="104"/>
                  </a:lnTo>
                  <a:lnTo>
                    <a:pt x="1382" y="0"/>
                  </a:lnTo>
                  <a:lnTo>
                    <a:pt x="1240" y="0"/>
                  </a:lnTo>
                  <a:lnTo>
                    <a:pt x="1240" y="104"/>
                  </a:lnTo>
                  <a:lnTo>
                    <a:pt x="1196" y="106"/>
                  </a:lnTo>
                  <a:lnTo>
                    <a:pt x="1154" y="112"/>
                  </a:lnTo>
                  <a:lnTo>
                    <a:pt x="1110" y="118"/>
                  </a:lnTo>
                  <a:lnTo>
                    <a:pt x="1068" y="126"/>
                  </a:lnTo>
                  <a:lnTo>
                    <a:pt x="1042" y="26"/>
                  </a:lnTo>
                  <a:lnTo>
                    <a:pt x="904" y="64"/>
                  </a:lnTo>
                  <a:lnTo>
                    <a:pt x="930" y="162"/>
                  </a:lnTo>
                  <a:lnTo>
                    <a:pt x="890" y="178"/>
                  </a:lnTo>
                  <a:lnTo>
                    <a:pt x="848" y="194"/>
                  </a:lnTo>
                  <a:lnTo>
                    <a:pt x="808" y="210"/>
                  </a:lnTo>
                  <a:lnTo>
                    <a:pt x="770" y="230"/>
                  </a:lnTo>
                  <a:lnTo>
                    <a:pt x="718" y="140"/>
                  </a:lnTo>
                  <a:lnTo>
                    <a:pt x="594" y="212"/>
                  </a:lnTo>
                  <a:lnTo>
                    <a:pt x="646" y="300"/>
                  </a:lnTo>
                  <a:lnTo>
                    <a:pt x="610" y="326"/>
                  </a:lnTo>
                  <a:lnTo>
                    <a:pt x="576" y="352"/>
                  </a:lnTo>
                  <a:lnTo>
                    <a:pt x="542" y="378"/>
                  </a:lnTo>
                  <a:lnTo>
                    <a:pt x="508" y="406"/>
                  </a:lnTo>
                  <a:lnTo>
                    <a:pt x="436" y="334"/>
                  </a:lnTo>
                  <a:lnTo>
                    <a:pt x="334" y="434"/>
                  </a:lnTo>
                  <a:lnTo>
                    <a:pt x="408" y="508"/>
                  </a:lnTo>
                  <a:lnTo>
                    <a:pt x="378" y="540"/>
                  </a:lnTo>
                  <a:lnTo>
                    <a:pt x="352" y="574"/>
                  </a:lnTo>
                  <a:lnTo>
                    <a:pt x="326" y="610"/>
                  </a:lnTo>
                  <a:lnTo>
                    <a:pt x="302" y="646"/>
                  </a:lnTo>
                  <a:lnTo>
                    <a:pt x="212" y="594"/>
                  </a:lnTo>
                  <a:lnTo>
                    <a:pt x="140" y="718"/>
                  </a:lnTo>
                  <a:lnTo>
                    <a:pt x="230" y="768"/>
                  </a:lnTo>
                  <a:lnTo>
                    <a:pt x="212" y="808"/>
                  </a:lnTo>
                  <a:lnTo>
                    <a:pt x="194" y="848"/>
                  </a:lnTo>
                  <a:lnTo>
                    <a:pt x="178" y="888"/>
                  </a:lnTo>
                  <a:lnTo>
                    <a:pt x="164" y="930"/>
                  </a:lnTo>
                  <a:lnTo>
                    <a:pt x="64" y="904"/>
                  </a:lnTo>
                  <a:lnTo>
                    <a:pt x="26" y="1040"/>
                  </a:lnTo>
                  <a:lnTo>
                    <a:pt x="126" y="1068"/>
                  </a:lnTo>
                  <a:lnTo>
                    <a:pt x="118" y="1110"/>
                  </a:lnTo>
                  <a:lnTo>
                    <a:pt x="112" y="1152"/>
                  </a:lnTo>
                  <a:lnTo>
                    <a:pt x="108" y="1196"/>
                  </a:lnTo>
                  <a:lnTo>
                    <a:pt x="104" y="1240"/>
                  </a:lnTo>
                  <a:lnTo>
                    <a:pt x="0" y="1240"/>
                  </a:lnTo>
                  <a:lnTo>
                    <a:pt x="0" y="1382"/>
                  </a:lnTo>
                  <a:lnTo>
                    <a:pt x="104" y="1382"/>
                  </a:lnTo>
                  <a:lnTo>
                    <a:pt x="108" y="1426"/>
                  </a:lnTo>
                  <a:lnTo>
                    <a:pt x="112" y="1470"/>
                  </a:lnTo>
                  <a:lnTo>
                    <a:pt x="118" y="1512"/>
                  </a:lnTo>
                  <a:lnTo>
                    <a:pt x="126" y="1556"/>
                  </a:lnTo>
                  <a:lnTo>
                    <a:pt x="26" y="1582"/>
                  </a:lnTo>
                  <a:lnTo>
                    <a:pt x="64" y="1720"/>
                  </a:lnTo>
                  <a:lnTo>
                    <a:pt x="164" y="1692"/>
                  </a:lnTo>
                  <a:lnTo>
                    <a:pt x="178" y="1734"/>
                  </a:lnTo>
                  <a:lnTo>
                    <a:pt x="194" y="1774"/>
                  </a:lnTo>
                  <a:lnTo>
                    <a:pt x="212" y="1814"/>
                  </a:lnTo>
                  <a:lnTo>
                    <a:pt x="230" y="1854"/>
                  </a:lnTo>
                  <a:lnTo>
                    <a:pt x="140" y="1906"/>
                  </a:lnTo>
                  <a:lnTo>
                    <a:pt x="212" y="2028"/>
                  </a:lnTo>
                  <a:lnTo>
                    <a:pt x="302" y="1978"/>
                  </a:lnTo>
                  <a:lnTo>
                    <a:pt x="326" y="2014"/>
                  </a:lnTo>
                  <a:lnTo>
                    <a:pt x="352" y="2048"/>
                  </a:lnTo>
                  <a:lnTo>
                    <a:pt x="378" y="2082"/>
                  </a:lnTo>
                  <a:lnTo>
                    <a:pt x="408" y="2116"/>
                  </a:lnTo>
                  <a:lnTo>
                    <a:pt x="334" y="2188"/>
                  </a:lnTo>
                  <a:lnTo>
                    <a:pt x="436" y="2288"/>
                  </a:lnTo>
                  <a:lnTo>
                    <a:pt x="508" y="2216"/>
                  </a:lnTo>
                  <a:lnTo>
                    <a:pt x="542" y="2244"/>
                  </a:lnTo>
                  <a:lnTo>
                    <a:pt x="576" y="2272"/>
                  </a:lnTo>
                  <a:lnTo>
                    <a:pt x="610" y="2298"/>
                  </a:lnTo>
                  <a:lnTo>
                    <a:pt x="646" y="2322"/>
                  </a:lnTo>
                  <a:lnTo>
                    <a:pt x="594" y="2412"/>
                  </a:lnTo>
                  <a:lnTo>
                    <a:pt x="718" y="2482"/>
                  </a:lnTo>
                  <a:lnTo>
                    <a:pt x="770" y="2394"/>
                  </a:lnTo>
                  <a:lnTo>
                    <a:pt x="808" y="2412"/>
                  </a:lnTo>
                  <a:lnTo>
                    <a:pt x="848" y="2430"/>
                  </a:lnTo>
                  <a:lnTo>
                    <a:pt x="890" y="2446"/>
                  </a:lnTo>
                  <a:lnTo>
                    <a:pt x="930" y="2460"/>
                  </a:lnTo>
                  <a:lnTo>
                    <a:pt x="904" y="2560"/>
                  </a:lnTo>
                  <a:lnTo>
                    <a:pt x="1042" y="2596"/>
                  </a:lnTo>
                  <a:lnTo>
                    <a:pt x="1068" y="2498"/>
                  </a:lnTo>
                  <a:lnTo>
                    <a:pt x="1110" y="2504"/>
                  </a:lnTo>
                  <a:lnTo>
                    <a:pt x="1154" y="2512"/>
                  </a:lnTo>
                  <a:lnTo>
                    <a:pt x="1196" y="2516"/>
                  </a:lnTo>
                  <a:lnTo>
                    <a:pt x="1240" y="2520"/>
                  </a:lnTo>
                  <a:lnTo>
                    <a:pt x="1240" y="2622"/>
                  </a:lnTo>
                  <a:lnTo>
                    <a:pt x="1382" y="2622"/>
                  </a:lnTo>
                  <a:lnTo>
                    <a:pt x="1382" y="2520"/>
                  </a:lnTo>
                  <a:lnTo>
                    <a:pt x="1426" y="2516"/>
                  </a:lnTo>
                  <a:lnTo>
                    <a:pt x="1470" y="2512"/>
                  </a:lnTo>
                  <a:lnTo>
                    <a:pt x="1514" y="2504"/>
                  </a:lnTo>
                  <a:lnTo>
                    <a:pt x="1556" y="2498"/>
                  </a:lnTo>
                  <a:lnTo>
                    <a:pt x="1582" y="2596"/>
                  </a:lnTo>
                  <a:lnTo>
                    <a:pt x="1720" y="2560"/>
                  </a:lnTo>
                  <a:lnTo>
                    <a:pt x="1694" y="2460"/>
                  </a:lnTo>
                  <a:lnTo>
                    <a:pt x="1734" y="2446"/>
                  </a:lnTo>
                  <a:lnTo>
                    <a:pt x="1776" y="2430"/>
                  </a:lnTo>
                  <a:lnTo>
                    <a:pt x="1816" y="2412"/>
                  </a:lnTo>
                  <a:lnTo>
                    <a:pt x="1854" y="2394"/>
                  </a:lnTo>
                  <a:lnTo>
                    <a:pt x="1906" y="2482"/>
                  </a:lnTo>
                  <a:lnTo>
                    <a:pt x="2028" y="2412"/>
                  </a:lnTo>
                  <a:lnTo>
                    <a:pt x="1978" y="2322"/>
                  </a:lnTo>
                  <a:lnTo>
                    <a:pt x="2014" y="2298"/>
                  </a:lnTo>
                  <a:lnTo>
                    <a:pt x="2048" y="2272"/>
                  </a:lnTo>
                  <a:lnTo>
                    <a:pt x="2082" y="2244"/>
                  </a:lnTo>
                  <a:lnTo>
                    <a:pt x="2116" y="2216"/>
                  </a:lnTo>
                  <a:lnTo>
                    <a:pt x="2188" y="2288"/>
                  </a:lnTo>
                  <a:lnTo>
                    <a:pt x="2290" y="2188"/>
                  </a:lnTo>
                  <a:lnTo>
                    <a:pt x="2216" y="2116"/>
                  </a:lnTo>
                  <a:lnTo>
                    <a:pt x="2244" y="2082"/>
                  </a:lnTo>
                  <a:lnTo>
                    <a:pt x="2272" y="2048"/>
                  </a:lnTo>
                  <a:lnTo>
                    <a:pt x="2298" y="2014"/>
                  </a:lnTo>
                  <a:lnTo>
                    <a:pt x="2322" y="1978"/>
                  </a:lnTo>
                  <a:lnTo>
                    <a:pt x="2412" y="2028"/>
                  </a:lnTo>
                  <a:lnTo>
                    <a:pt x="2482" y="1906"/>
                  </a:lnTo>
                  <a:lnTo>
                    <a:pt x="2394" y="1854"/>
                  </a:lnTo>
                  <a:lnTo>
                    <a:pt x="2412" y="1814"/>
                  </a:lnTo>
                  <a:lnTo>
                    <a:pt x="2430" y="1774"/>
                  </a:lnTo>
                  <a:lnTo>
                    <a:pt x="2446" y="1734"/>
                  </a:lnTo>
                  <a:lnTo>
                    <a:pt x="2460" y="1692"/>
                  </a:lnTo>
                  <a:lnTo>
                    <a:pt x="2560" y="1720"/>
                  </a:lnTo>
                  <a:lnTo>
                    <a:pt x="2596" y="1582"/>
                  </a:lnTo>
                  <a:lnTo>
                    <a:pt x="2498" y="1556"/>
                  </a:lnTo>
                  <a:lnTo>
                    <a:pt x="2506" y="1512"/>
                  </a:lnTo>
                  <a:lnTo>
                    <a:pt x="2512" y="1470"/>
                  </a:lnTo>
                  <a:lnTo>
                    <a:pt x="2516" y="1426"/>
                  </a:lnTo>
                  <a:lnTo>
                    <a:pt x="2520" y="1382"/>
                  </a:lnTo>
                  <a:lnTo>
                    <a:pt x="2622" y="1382"/>
                  </a:lnTo>
                  <a:close/>
                  <a:moveTo>
                    <a:pt x="1312" y="2420"/>
                  </a:moveTo>
                  <a:lnTo>
                    <a:pt x="1312" y="2420"/>
                  </a:lnTo>
                  <a:lnTo>
                    <a:pt x="1254" y="2420"/>
                  </a:lnTo>
                  <a:lnTo>
                    <a:pt x="1198" y="2416"/>
                  </a:lnTo>
                  <a:lnTo>
                    <a:pt x="1142" y="2408"/>
                  </a:lnTo>
                  <a:lnTo>
                    <a:pt x="1088" y="2398"/>
                  </a:lnTo>
                  <a:lnTo>
                    <a:pt x="1034" y="2386"/>
                  </a:lnTo>
                  <a:lnTo>
                    <a:pt x="982" y="2370"/>
                  </a:lnTo>
                  <a:lnTo>
                    <a:pt x="930" y="2354"/>
                  </a:lnTo>
                  <a:lnTo>
                    <a:pt x="880" y="2334"/>
                  </a:lnTo>
                  <a:lnTo>
                    <a:pt x="830" y="2312"/>
                  </a:lnTo>
                  <a:lnTo>
                    <a:pt x="782" y="2286"/>
                  </a:lnTo>
                  <a:lnTo>
                    <a:pt x="736" y="2260"/>
                  </a:lnTo>
                  <a:lnTo>
                    <a:pt x="692" y="2232"/>
                  </a:lnTo>
                  <a:lnTo>
                    <a:pt x="648" y="2200"/>
                  </a:lnTo>
                  <a:lnTo>
                    <a:pt x="606" y="2168"/>
                  </a:lnTo>
                  <a:lnTo>
                    <a:pt x="566" y="2132"/>
                  </a:lnTo>
                  <a:lnTo>
                    <a:pt x="528" y="2096"/>
                  </a:lnTo>
                  <a:lnTo>
                    <a:pt x="490" y="2058"/>
                  </a:lnTo>
                  <a:lnTo>
                    <a:pt x="456" y="2018"/>
                  </a:lnTo>
                  <a:lnTo>
                    <a:pt x="422" y="1976"/>
                  </a:lnTo>
                  <a:lnTo>
                    <a:pt x="392" y="1932"/>
                  </a:lnTo>
                  <a:lnTo>
                    <a:pt x="362" y="1886"/>
                  </a:lnTo>
                  <a:lnTo>
                    <a:pt x="336" y="1840"/>
                  </a:lnTo>
                  <a:lnTo>
                    <a:pt x="312" y="1792"/>
                  </a:lnTo>
                  <a:lnTo>
                    <a:pt x="290" y="1744"/>
                  </a:lnTo>
                  <a:lnTo>
                    <a:pt x="270" y="1692"/>
                  </a:lnTo>
                  <a:lnTo>
                    <a:pt x="252" y="1642"/>
                  </a:lnTo>
                  <a:lnTo>
                    <a:pt x="238" y="1588"/>
                  </a:lnTo>
                  <a:lnTo>
                    <a:pt x="224" y="1534"/>
                  </a:lnTo>
                  <a:lnTo>
                    <a:pt x="216" y="1480"/>
                  </a:lnTo>
                  <a:lnTo>
                    <a:pt x="208" y="1424"/>
                  </a:lnTo>
                  <a:lnTo>
                    <a:pt x="204" y="1368"/>
                  </a:lnTo>
                  <a:lnTo>
                    <a:pt x="202" y="1312"/>
                  </a:lnTo>
                  <a:lnTo>
                    <a:pt x="204" y="1254"/>
                  </a:lnTo>
                  <a:lnTo>
                    <a:pt x="208" y="1198"/>
                  </a:lnTo>
                  <a:lnTo>
                    <a:pt x="216" y="1142"/>
                  </a:lnTo>
                  <a:lnTo>
                    <a:pt x="224" y="1088"/>
                  </a:lnTo>
                  <a:lnTo>
                    <a:pt x="238" y="1034"/>
                  </a:lnTo>
                  <a:lnTo>
                    <a:pt x="252" y="982"/>
                  </a:lnTo>
                  <a:lnTo>
                    <a:pt x="270" y="930"/>
                  </a:lnTo>
                  <a:lnTo>
                    <a:pt x="290" y="880"/>
                  </a:lnTo>
                  <a:lnTo>
                    <a:pt x="312" y="830"/>
                  </a:lnTo>
                  <a:lnTo>
                    <a:pt x="336" y="782"/>
                  </a:lnTo>
                  <a:lnTo>
                    <a:pt x="362" y="736"/>
                  </a:lnTo>
                  <a:lnTo>
                    <a:pt x="392" y="692"/>
                  </a:lnTo>
                  <a:lnTo>
                    <a:pt x="422" y="648"/>
                  </a:lnTo>
                  <a:lnTo>
                    <a:pt x="456" y="606"/>
                  </a:lnTo>
                  <a:lnTo>
                    <a:pt x="490" y="566"/>
                  </a:lnTo>
                  <a:lnTo>
                    <a:pt x="528" y="526"/>
                  </a:lnTo>
                  <a:lnTo>
                    <a:pt x="566" y="490"/>
                  </a:lnTo>
                  <a:lnTo>
                    <a:pt x="606" y="456"/>
                  </a:lnTo>
                  <a:lnTo>
                    <a:pt x="648" y="422"/>
                  </a:lnTo>
                  <a:lnTo>
                    <a:pt x="692" y="392"/>
                  </a:lnTo>
                  <a:lnTo>
                    <a:pt x="736" y="362"/>
                  </a:lnTo>
                  <a:lnTo>
                    <a:pt x="782" y="336"/>
                  </a:lnTo>
                  <a:lnTo>
                    <a:pt x="830" y="312"/>
                  </a:lnTo>
                  <a:lnTo>
                    <a:pt x="880" y="290"/>
                  </a:lnTo>
                  <a:lnTo>
                    <a:pt x="930" y="270"/>
                  </a:lnTo>
                  <a:lnTo>
                    <a:pt x="982" y="252"/>
                  </a:lnTo>
                  <a:lnTo>
                    <a:pt x="1034" y="236"/>
                  </a:lnTo>
                  <a:lnTo>
                    <a:pt x="1088" y="224"/>
                  </a:lnTo>
                  <a:lnTo>
                    <a:pt x="1142" y="214"/>
                  </a:lnTo>
                  <a:lnTo>
                    <a:pt x="1198" y="208"/>
                  </a:lnTo>
                  <a:lnTo>
                    <a:pt x="1254" y="204"/>
                  </a:lnTo>
                  <a:lnTo>
                    <a:pt x="1312" y="202"/>
                  </a:lnTo>
                  <a:lnTo>
                    <a:pt x="1368" y="204"/>
                  </a:lnTo>
                  <a:lnTo>
                    <a:pt x="1426" y="208"/>
                  </a:lnTo>
                  <a:lnTo>
                    <a:pt x="1480" y="214"/>
                  </a:lnTo>
                  <a:lnTo>
                    <a:pt x="1536" y="224"/>
                  </a:lnTo>
                  <a:lnTo>
                    <a:pt x="1588" y="236"/>
                  </a:lnTo>
                  <a:lnTo>
                    <a:pt x="1642" y="252"/>
                  </a:lnTo>
                  <a:lnTo>
                    <a:pt x="1694" y="270"/>
                  </a:lnTo>
                  <a:lnTo>
                    <a:pt x="1744" y="290"/>
                  </a:lnTo>
                  <a:lnTo>
                    <a:pt x="1792" y="312"/>
                  </a:lnTo>
                  <a:lnTo>
                    <a:pt x="1840" y="336"/>
                  </a:lnTo>
                  <a:lnTo>
                    <a:pt x="1886" y="362"/>
                  </a:lnTo>
                  <a:lnTo>
                    <a:pt x="1932" y="392"/>
                  </a:lnTo>
                  <a:lnTo>
                    <a:pt x="1976" y="422"/>
                  </a:lnTo>
                  <a:lnTo>
                    <a:pt x="2018" y="456"/>
                  </a:lnTo>
                  <a:lnTo>
                    <a:pt x="2058" y="490"/>
                  </a:lnTo>
                  <a:lnTo>
                    <a:pt x="2096" y="526"/>
                  </a:lnTo>
                  <a:lnTo>
                    <a:pt x="2132" y="566"/>
                  </a:lnTo>
                  <a:lnTo>
                    <a:pt x="2168" y="606"/>
                  </a:lnTo>
                  <a:lnTo>
                    <a:pt x="2200" y="648"/>
                  </a:lnTo>
                  <a:lnTo>
                    <a:pt x="2232" y="692"/>
                  </a:lnTo>
                  <a:lnTo>
                    <a:pt x="2260" y="736"/>
                  </a:lnTo>
                  <a:lnTo>
                    <a:pt x="2288" y="782"/>
                  </a:lnTo>
                  <a:lnTo>
                    <a:pt x="2312" y="830"/>
                  </a:lnTo>
                  <a:lnTo>
                    <a:pt x="2334" y="880"/>
                  </a:lnTo>
                  <a:lnTo>
                    <a:pt x="2354" y="930"/>
                  </a:lnTo>
                  <a:lnTo>
                    <a:pt x="2372" y="982"/>
                  </a:lnTo>
                  <a:lnTo>
                    <a:pt x="2386" y="1034"/>
                  </a:lnTo>
                  <a:lnTo>
                    <a:pt x="2398" y="1088"/>
                  </a:lnTo>
                  <a:lnTo>
                    <a:pt x="2408" y="1142"/>
                  </a:lnTo>
                  <a:lnTo>
                    <a:pt x="2416" y="1198"/>
                  </a:lnTo>
                  <a:lnTo>
                    <a:pt x="2420" y="1254"/>
                  </a:lnTo>
                  <a:lnTo>
                    <a:pt x="2422" y="1312"/>
                  </a:lnTo>
                  <a:lnTo>
                    <a:pt x="2420" y="1368"/>
                  </a:lnTo>
                  <a:lnTo>
                    <a:pt x="2416" y="1424"/>
                  </a:lnTo>
                  <a:lnTo>
                    <a:pt x="2408" y="1480"/>
                  </a:lnTo>
                  <a:lnTo>
                    <a:pt x="2398" y="1534"/>
                  </a:lnTo>
                  <a:lnTo>
                    <a:pt x="2386" y="1588"/>
                  </a:lnTo>
                  <a:lnTo>
                    <a:pt x="2372" y="1642"/>
                  </a:lnTo>
                  <a:lnTo>
                    <a:pt x="2354" y="1692"/>
                  </a:lnTo>
                  <a:lnTo>
                    <a:pt x="2334" y="1744"/>
                  </a:lnTo>
                  <a:lnTo>
                    <a:pt x="2312" y="1792"/>
                  </a:lnTo>
                  <a:lnTo>
                    <a:pt x="2288" y="1840"/>
                  </a:lnTo>
                  <a:lnTo>
                    <a:pt x="2260" y="1886"/>
                  </a:lnTo>
                  <a:lnTo>
                    <a:pt x="2232" y="1932"/>
                  </a:lnTo>
                  <a:lnTo>
                    <a:pt x="2200" y="1976"/>
                  </a:lnTo>
                  <a:lnTo>
                    <a:pt x="2168" y="2018"/>
                  </a:lnTo>
                  <a:lnTo>
                    <a:pt x="2132" y="2058"/>
                  </a:lnTo>
                  <a:lnTo>
                    <a:pt x="2096" y="2096"/>
                  </a:lnTo>
                  <a:lnTo>
                    <a:pt x="2058" y="2132"/>
                  </a:lnTo>
                  <a:lnTo>
                    <a:pt x="2018" y="2168"/>
                  </a:lnTo>
                  <a:lnTo>
                    <a:pt x="1976" y="2200"/>
                  </a:lnTo>
                  <a:lnTo>
                    <a:pt x="1932" y="2232"/>
                  </a:lnTo>
                  <a:lnTo>
                    <a:pt x="1886" y="2260"/>
                  </a:lnTo>
                  <a:lnTo>
                    <a:pt x="1840" y="2286"/>
                  </a:lnTo>
                  <a:lnTo>
                    <a:pt x="1792" y="2312"/>
                  </a:lnTo>
                  <a:lnTo>
                    <a:pt x="1744" y="2334"/>
                  </a:lnTo>
                  <a:lnTo>
                    <a:pt x="1694" y="2354"/>
                  </a:lnTo>
                  <a:lnTo>
                    <a:pt x="1642" y="2370"/>
                  </a:lnTo>
                  <a:lnTo>
                    <a:pt x="1588" y="2386"/>
                  </a:lnTo>
                  <a:lnTo>
                    <a:pt x="1536" y="2398"/>
                  </a:lnTo>
                  <a:lnTo>
                    <a:pt x="1480" y="2408"/>
                  </a:lnTo>
                  <a:lnTo>
                    <a:pt x="1426" y="2416"/>
                  </a:lnTo>
                  <a:lnTo>
                    <a:pt x="1368" y="2420"/>
                  </a:lnTo>
                  <a:lnTo>
                    <a:pt x="1312" y="2420"/>
                  </a:lnTo>
                  <a:close/>
                </a:path>
              </a:pathLst>
            </a:custGeom>
            <a:solidFill>
              <a:srgbClr val="0070C0">
                <a:alpha val="7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prstDash val="sysDot"/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38" name="Oval 676"/>
            <p:cNvSpPr>
              <a:spLocks noChangeArrowheads="1"/>
            </p:cNvSpPr>
            <p:nvPr/>
          </p:nvSpPr>
          <p:spPr bwMode="auto">
            <a:xfrm rot="21275257">
              <a:off x="1307091" y="2016046"/>
              <a:ext cx="2695575" cy="2693988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ko-KR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Malgun Gothic" panose="020B0503020000020004" charset="-127"/>
                <a:cs typeface="Malgun Gothic" panose="020B0503020000020004" charset="-127"/>
                <a:sym typeface="Arial" panose="020B0604020202020204" pitchFamily="34" charset="0"/>
              </a:endParaRPr>
            </a:p>
          </p:txBody>
        </p:sp>
        <p:sp>
          <p:nvSpPr>
            <p:cNvPr id="39" name="Oval 677"/>
            <p:cNvSpPr>
              <a:spLocks noChangeArrowheads="1"/>
            </p:cNvSpPr>
            <p:nvPr/>
          </p:nvSpPr>
          <p:spPr bwMode="auto">
            <a:xfrm rot="21275257">
              <a:off x="4617028" y="1993821"/>
              <a:ext cx="1801813" cy="18018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ko-KR" alt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Malgun Gothic" panose="020B0503020000020004" charset="-127"/>
                <a:cs typeface="Malgun Gothic" panose="020B0503020000020004" charset="-127"/>
                <a:sym typeface="Arial" panose="020B0604020202020204" pitchFamily="34" charset="0"/>
              </a:endParaRPr>
            </a:p>
          </p:txBody>
        </p:sp>
        <p:sp>
          <p:nvSpPr>
            <p:cNvPr id="40" name="Freeform 679"/>
            <p:cNvSpPr>
              <a:spLocks noEditPoints="1"/>
            </p:cNvSpPr>
            <p:nvPr/>
          </p:nvSpPr>
          <p:spPr bwMode="auto">
            <a:xfrm rot="21275257">
              <a:off x="5693353" y="3676571"/>
              <a:ext cx="2303463" cy="2305050"/>
            </a:xfrm>
            <a:custGeom>
              <a:avLst/>
              <a:gdLst>
                <a:gd name="T0" fmla="*/ 2147483647 w 1816"/>
                <a:gd name="T1" fmla="*/ 2147483647 h 1816"/>
                <a:gd name="T2" fmla="*/ 2147483647 w 1816"/>
                <a:gd name="T3" fmla="*/ 2147483647 h 1816"/>
                <a:gd name="T4" fmla="*/ 2147483647 w 1816"/>
                <a:gd name="T5" fmla="*/ 2147483647 h 1816"/>
                <a:gd name="T6" fmla="*/ 2147483647 w 1816"/>
                <a:gd name="T7" fmla="*/ 2147483647 h 1816"/>
                <a:gd name="T8" fmla="*/ 2147483647 w 1816"/>
                <a:gd name="T9" fmla="*/ 2147483647 h 1816"/>
                <a:gd name="T10" fmla="*/ 2147483647 w 1816"/>
                <a:gd name="T11" fmla="*/ 2147483647 h 1816"/>
                <a:gd name="T12" fmla="*/ 2147483647 w 1816"/>
                <a:gd name="T13" fmla="*/ 2147483647 h 1816"/>
                <a:gd name="T14" fmla="*/ 2147483647 w 1816"/>
                <a:gd name="T15" fmla="*/ 2147483647 h 1816"/>
                <a:gd name="T16" fmla="*/ 2147483647 w 1816"/>
                <a:gd name="T17" fmla="*/ 2147483647 h 1816"/>
                <a:gd name="T18" fmla="*/ 2147483647 w 1816"/>
                <a:gd name="T19" fmla="*/ 2147483647 h 1816"/>
                <a:gd name="T20" fmla="*/ 2147483647 w 1816"/>
                <a:gd name="T21" fmla="*/ 2147483647 h 1816"/>
                <a:gd name="T22" fmla="*/ 2147483647 w 1816"/>
                <a:gd name="T23" fmla="*/ 2147483647 h 1816"/>
                <a:gd name="T24" fmla="*/ 0 w 1816"/>
                <a:gd name="T25" fmla="*/ 2147483647 h 1816"/>
                <a:gd name="T26" fmla="*/ 2147483647 w 1816"/>
                <a:gd name="T27" fmla="*/ 2147483647 h 1816"/>
                <a:gd name="T28" fmla="*/ 2147483647 w 1816"/>
                <a:gd name="T29" fmla="*/ 2147483647 h 1816"/>
                <a:gd name="T30" fmla="*/ 2147483647 w 1816"/>
                <a:gd name="T31" fmla="*/ 2147483647 h 1816"/>
                <a:gd name="T32" fmla="*/ 2147483647 w 1816"/>
                <a:gd name="T33" fmla="*/ 2147483647 h 1816"/>
                <a:gd name="T34" fmla="*/ 2147483647 w 1816"/>
                <a:gd name="T35" fmla="*/ 2147483647 h 1816"/>
                <a:gd name="T36" fmla="*/ 2147483647 w 1816"/>
                <a:gd name="T37" fmla="*/ 2147483647 h 1816"/>
                <a:gd name="T38" fmla="*/ 2147483647 w 1816"/>
                <a:gd name="T39" fmla="*/ 2147483647 h 1816"/>
                <a:gd name="T40" fmla="*/ 2147483647 w 1816"/>
                <a:gd name="T41" fmla="*/ 2147483647 h 1816"/>
                <a:gd name="T42" fmla="*/ 2147483647 w 1816"/>
                <a:gd name="T43" fmla="*/ 2147483647 h 1816"/>
                <a:gd name="T44" fmla="*/ 2147483647 w 1816"/>
                <a:gd name="T45" fmla="*/ 2147483647 h 1816"/>
                <a:gd name="T46" fmla="*/ 2147483647 w 1816"/>
                <a:gd name="T47" fmla="*/ 2147483647 h 1816"/>
                <a:gd name="T48" fmla="*/ 2147483647 w 1816"/>
                <a:gd name="T49" fmla="*/ 2147483647 h 1816"/>
                <a:gd name="T50" fmla="*/ 2147483647 w 1816"/>
                <a:gd name="T51" fmla="*/ 2147483647 h 1816"/>
                <a:gd name="T52" fmla="*/ 2147483647 w 1816"/>
                <a:gd name="T53" fmla="*/ 2147483647 h 1816"/>
                <a:gd name="T54" fmla="*/ 2147483647 w 1816"/>
                <a:gd name="T55" fmla="*/ 2147483647 h 1816"/>
                <a:gd name="T56" fmla="*/ 2147483647 w 1816"/>
                <a:gd name="T57" fmla="*/ 2147483647 h 1816"/>
                <a:gd name="T58" fmla="*/ 2147483647 w 1816"/>
                <a:gd name="T59" fmla="*/ 2147483647 h 1816"/>
                <a:gd name="T60" fmla="*/ 2147483647 w 1816"/>
                <a:gd name="T61" fmla="*/ 2147483647 h 1816"/>
                <a:gd name="T62" fmla="*/ 2147483647 w 1816"/>
                <a:gd name="T63" fmla="*/ 2147483647 h 1816"/>
                <a:gd name="T64" fmla="*/ 2147483647 w 1816"/>
                <a:gd name="T65" fmla="*/ 2147483647 h 1816"/>
                <a:gd name="T66" fmla="*/ 2147483647 w 1816"/>
                <a:gd name="T67" fmla="*/ 2147483647 h 1816"/>
                <a:gd name="T68" fmla="*/ 2147483647 w 1816"/>
                <a:gd name="T69" fmla="*/ 2147483647 h 1816"/>
                <a:gd name="T70" fmla="*/ 2147483647 w 1816"/>
                <a:gd name="T71" fmla="*/ 2147483647 h 1816"/>
                <a:gd name="T72" fmla="*/ 2147483647 w 1816"/>
                <a:gd name="T73" fmla="*/ 2147483647 h 1816"/>
                <a:gd name="T74" fmla="*/ 2147483647 w 1816"/>
                <a:gd name="T75" fmla="*/ 2147483647 h 1816"/>
                <a:gd name="T76" fmla="*/ 2147483647 w 1816"/>
                <a:gd name="T77" fmla="*/ 2147483647 h 1816"/>
                <a:gd name="T78" fmla="*/ 2147483647 w 1816"/>
                <a:gd name="T79" fmla="*/ 2147483647 h 1816"/>
                <a:gd name="T80" fmla="*/ 2147483647 w 1816"/>
                <a:gd name="T81" fmla="*/ 2147483647 h 1816"/>
                <a:gd name="T82" fmla="*/ 2147483647 w 1816"/>
                <a:gd name="T83" fmla="*/ 2147483647 h 1816"/>
                <a:gd name="T84" fmla="*/ 2147483647 w 1816"/>
                <a:gd name="T85" fmla="*/ 2147483647 h 1816"/>
                <a:gd name="T86" fmla="*/ 2147483647 w 1816"/>
                <a:gd name="T87" fmla="*/ 2147483647 h 1816"/>
                <a:gd name="T88" fmla="*/ 2147483647 w 1816"/>
                <a:gd name="T89" fmla="*/ 2147483647 h 1816"/>
                <a:gd name="T90" fmla="*/ 2147483647 w 1816"/>
                <a:gd name="T91" fmla="*/ 2147483647 h 1816"/>
                <a:gd name="T92" fmla="*/ 2147483647 w 1816"/>
                <a:gd name="T93" fmla="*/ 2147483647 h 1816"/>
                <a:gd name="T94" fmla="*/ 2147483647 w 1816"/>
                <a:gd name="T95" fmla="*/ 2147483647 h 1816"/>
                <a:gd name="T96" fmla="*/ 2147483647 w 1816"/>
                <a:gd name="T97" fmla="*/ 2147483647 h 1816"/>
                <a:gd name="T98" fmla="*/ 2147483647 w 1816"/>
                <a:gd name="T99" fmla="*/ 2147483647 h 1816"/>
                <a:gd name="T100" fmla="*/ 2147483647 w 1816"/>
                <a:gd name="T101" fmla="*/ 2147483647 h 1816"/>
                <a:gd name="T102" fmla="*/ 2147483647 w 1816"/>
                <a:gd name="T103" fmla="*/ 2147483647 h 18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816"/>
                <a:gd name="T157" fmla="*/ 0 h 1816"/>
                <a:gd name="T158" fmla="*/ 1816 w 1816"/>
                <a:gd name="T159" fmla="*/ 1816 h 18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816" h="1816">
                  <a:moveTo>
                    <a:pt x="1816" y="978"/>
                  </a:moveTo>
                  <a:lnTo>
                    <a:pt x="1816" y="836"/>
                  </a:lnTo>
                  <a:lnTo>
                    <a:pt x="1710" y="836"/>
                  </a:lnTo>
                  <a:lnTo>
                    <a:pt x="1706" y="792"/>
                  </a:lnTo>
                  <a:lnTo>
                    <a:pt x="1698" y="750"/>
                  </a:lnTo>
                  <a:lnTo>
                    <a:pt x="1688" y="708"/>
                  </a:lnTo>
                  <a:lnTo>
                    <a:pt x="1678" y="666"/>
                  </a:lnTo>
                  <a:lnTo>
                    <a:pt x="1774" y="626"/>
                  </a:lnTo>
                  <a:lnTo>
                    <a:pt x="1718" y="494"/>
                  </a:lnTo>
                  <a:lnTo>
                    <a:pt x="1622" y="534"/>
                  </a:lnTo>
                  <a:lnTo>
                    <a:pt x="1602" y="496"/>
                  </a:lnTo>
                  <a:lnTo>
                    <a:pt x="1578" y="460"/>
                  </a:lnTo>
                  <a:lnTo>
                    <a:pt x="1552" y="424"/>
                  </a:lnTo>
                  <a:lnTo>
                    <a:pt x="1526" y="390"/>
                  </a:lnTo>
                  <a:lnTo>
                    <a:pt x="1600" y="316"/>
                  </a:lnTo>
                  <a:lnTo>
                    <a:pt x="1498" y="216"/>
                  </a:lnTo>
                  <a:lnTo>
                    <a:pt x="1426" y="290"/>
                  </a:lnTo>
                  <a:lnTo>
                    <a:pt x="1392" y="262"/>
                  </a:lnTo>
                  <a:lnTo>
                    <a:pt x="1356" y="236"/>
                  </a:lnTo>
                  <a:lnTo>
                    <a:pt x="1318" y="214"/>
                  </a:lnTo>
                  <a:lnTo>
                    <a:pt x="1280" y="192"/>
                  </a:lnTo>
                  <a:lnTo>
                    <a:pt x="1320" y="96"/>
                  </a:lnTo>
                  <a:lnTo>
                    <a:pt x="1188" y="42"/>
                  </a:lnTo>
                  <a:lnTo>
                    <a:pt x="1150" y="138"/>
                  </a:lnTo>
                  <a:lnTo>
                    <a:pt x="1108" y="126"/>
                  </a:lnTo>
                  <a:lnTo>
                    <a:pt x="1066" y="116"/>
                  </a:lnTo>
                  <a:lnTo>
                    <a:pt x="1022" y="110"/>
                  </a:lnTo>
                  <a:lnTo>
                    <a:pt x="978" y="104"/>
                  </a:lnTo>
                  <a:lnTo>
                    <a:pt x="978" y="0"/>
                  </a:lnTo>
                  <a:lnTo>
                    <a:pt x="836" y="0"/>
                  </a:lnTo>
                  <a:lnTo>
                    <a:pt x="836" y="104"/>
                  </a:lnTo>
                  <a:lnTo>
                    <a:pt x="792" y="110"/>
                  </a:lnTo>
                  <a:lnTo>
                    <a:pt x="750" y="116"/>
                  </a:lnTo>
                  <a:lnTo>
                    <a:pt x="706" y="126"/>
                  </a:lnTo>
                  <a:lnTo>
                    <a:pt x="666" y="138"/>
                  </a:lnTo>
                  <a:lnTo>
                    <a:pt x="626" y="42"/>
                  </a:lnTo>
                  <a:lnTo>
                    <a:pt x="494" y="96"/>
                  </a:lnTo>
                  <a:lnTo>
                    <a:pt x="534" y="192"/>
                  </a:lnTo>
                  <a:lnTo>
                    <a:pt x="496" y="214"/>
                  </a:lnTo>
                  <a:lnTo>
                    <a:pt x="460" y="236"/>
                  </a:lnTo>
                  <a:lnTo>
                    <a:pt x="424" y="262"/>
                  </a:lnTo>
                  <a:lnTo>
                    <a:pt x="390" y="290"/>
                  </a:lnTo>
                  <a:lnTo>
                    <a:pt x="316" y="216"/>
                  </a:lnTo>
                  <a:lnTo>
                    <a:pt x="216" y="316"/>
                  </a:lnTo>
                  <a:lnTo>
                    <a:pt x="288" y="390"/>
                  </a:lnTo>
                  <a:lnTo>
                    <a:pt x="262" y="424"/>
                  </a:lnTo>
                  <a:lnTo>
                    <a:pt x="236" y="460"/>
                  </a:lnTo>
                  <a:lnTo>
                    <a:pt x="214" y="496"/>
                  </a:lnTo>
                  <a:lnTo>
                    <a:pt x="192" y="534"/>
                  </a:lnTo>
                  <a:lnTo>
                    <a:pt x="96" y="494"/>
                  </a:lnTo>
                  <a:lnTo>
                    <a:pt x="42" y="626"/>
                  </a:lnTo>
                  <a:lnTo>
                    <a:pt x="138" y="666"/>
                  </a:lnTo>
                  <a:lnTo>
                    <a:pt x="126" y="708"/>
                  </a:lnTo>
                  <a:lnTo>
                    <a:pt x="116" y="750"/>
                  </a:lnTo>
                  <a:lnTo>
                    <a:pt x="108" y="792"/>
                  </a:lnTo>
                  <a:lnTo>
                    <a:pt x="104" y="836"/>
                  </a:lnTo>
                  <a:lnTo>
                    <a:pt x="0" y="836"/>
                  </a:lnTo>
                  <a:lnTo>
                    <a:pt x="0" y="978"/>
                  </a:lnTo>
                  <a:lnTo>
                    <a:pt x="104" y="978"/>
                  </a:lnTo>
                  <a:lnTo>
                    <a:pt x="108" y="1022"/>
                  </a:lnTo>
                  <a:lnTo>
                    <a:pt x="116" y="1066"/>
                  </a:lnTo>
                  <a:lnTo>
                    <a:pt x="126" y="1108"/>
                  </a:lnTo>
                  <a:lnTo>
                    <a:pt x="138" y="1150"/>
                  </a:lnTo>
                  <a:lnTo>
                    <a:pt x="42" y="1190"/>
                  </a:lnTo>
                  <a:lnTo>
                    <a:pt x="96" y="1320"/>
                  </a:lnTo>
                  <a:lnTo>
                    <a:pt x="192" y="1280"/>
                  </a:lnTo>
                  <a:lnTo>
                    <a:pt x="214" y="1320"/>
                  </a:lnTo>
                  <a:lnTo>
                    <a:pt x="236" y="1356"/>
                  </a:lnTo>
                  <a:lnTo>
                    <a:pt x="262" y="1392"/>
                  </a:lnTo>
                  <a:lnTo>
                    <a:pt x="288" y="1426"/>
                  </a:lnTo>
                  <a:lnTo>
                    <a:pt x="216" y="1500"/>
                  </a:lnTo>
                  <a:lnTo>
                    <a:pt x="316" y="1600"/>
                  </a:lnTo>
                  <a:lnTo>
                    <a:pt x="390" y="1526"/>
                  </a:lnTo>
                  <a:lnTo>
                    <a:pt x="424" y="1554"/>
                  </a:lnTo>
                  <a:lnTo>
                    <a:pt x="460" y="1578"/>
                  </a:lnTo>
                  <a:lnTo>
                    <a:pt x="496" y="1602"/>
                  </a:lnTo>
                  <a:lnTo>
                    <a:pt x="534" y="1622"/>
                  </a:lnTo>
                  <a:lnTo>
                    <a:pt x="494" y="1718"/>
                  </a:lnTo>
                  <a:lnTo>
                    <a:pt x="626" y="1774"/>
                  </a:lnTo>
                  <a:lnTo>
                    <a:pt x="666" y="1678"/>
                  </a:lnTo>
                  <a:lnTo>
                    <a:pt x="706" y="1690"/>
                  </a:lnTo>
                  <a:lnTo>
                    <a:pt x="750" y="1698"/>
                  </a:lnTo>
                  <a:lnTo>
                    <a:pt x="792" y="1706"/>
                  </a:lnTo>
                  <a:lnTo>
                    <a:pt x="836" y="1712"/>
                  </a:lnTo>
                  <a:lnTo>
                    <a:pt x="836" y="1816"/>
                  </a:lnTo>
                  <a:lnTo>
                    <a:pt x="978" y="1816"/>
                  </a:lnTo>
                  <a:lnTo>
                    <a:pt x="978" y="1712"/>
                  </a:lnTo>
                  <a:lnTo>
                    <a:pt x="1022" y="1706"/>
                  </a:lnTo>
                  <a:lnTo>
                    <a:pt x="1066" y="1698"/>
                  </a:lnTo>
                  <a:lnTo>
                    <a:pt x="1108" y="1690"/>
                  </a:lnTo>
                  <a:lnTo>
                    <a:pt x="1150" y="1678"/>
                  </a:lnTo>
                  <a:lnTo>
                    <a:pt x="1188" y="1774"/>
                  </a:lnTo>
                  <a:lnTo>
                    <a:pt x="1320" y="1718"/>
                  </a:lnTo>
                  <a:lnTo>
                    <a:pt x="1280" y="1622"/>
                  </a:lnTo>
                  <a:lnTo>
                    <a:pt x="1318" y="1602"/>
                  </a:lnTo>
                  <a:lnTo>
                    <a:pt x="1356" y="1578"/>
                  </a:lnTo>
                  <a:lnTo>
                    <a:pt x="1392" y="1554"/>
                  </a:lnTo>
                  <a:lnTo>
                    <a:pt x="1426" y="1526"/>
                  </a:lnTo>
                  <a:lnTo>
                    <a:pt x="1498" y="1600"/>
                  </a:lnTo>
                  <a:lnTo>
                    <a:pt x="1600" y="1500"/>
                  </a:lnTo>
                  <a:lnTo>
                    <a:pt x="1526" y="1426"/>
                  </a:lnTo>
                  <a:lnTo>
                    <a:pt x="1552" y="1392"/>
                  </a:lnTo>
                  <a:lnTo>
                    <a:pt x="1578" y="1356"/>
                  </a:lnTo>
                  <a:lnTo>
                    <a:pt x="1602" y="1320"/>
                  </a:lnTo>
                  <a:lnTo>
                    <a:pt x="1622" y="1280"/>
                  </a:lnTo>
                  <a:lnTo>
                    <a:pt x="1718" y="1320"/>
                  </a:lnTo>
                  <a:lnTo>
                    <a:pt x="1774" y="1190"/>
                  </a:lnTo>
                  <a:lnTo>
                    <a:pt x="1678" y="1150"/>
                  </a:lnTo>
                  <a:lnTo>
                    <a:pt x="1688" y="1108"/>
                  </a:lnTo>
                  <a:lnTo>
                    <a:pt x="1698" y="1066"/>
                  </a:lnTo>
                  <a:lnTo>
                    <a:pt x="1706" y="1022"/>
                  </a:lnTo>
                  <a:lnTo>
                    <a:pt x="1710" y="978"/>
                  </a:lnTo>
                  <a:lnTo>
                    <a:pt x="1816" y="978"/>
                  </a:lnTo>
                  <a:close/>
                  <a:moveTo>
                    <a:pt x="908" y="1614"/>
                  </a:moveTo>
                  <a:lnTo>
                    <a:pt x="908" y="1614"/>
                  </a:lnTo>
                  <a:lnTo>
                    <a:pt x="872" y="1612"/>
                  </a:lnTo>
                  <a:lnTo>
                    <a:pt x="836" y="1610"/>
                  </a:lnTo>
                  <a:lnTo>
                    <a:pt x="800" y="1606"/>
                  </a:lnTo>
                  <a:lnTo>
                    <a:pt x="766" y="1600"/>
                  </a:lnTo>
                  <a:lnTo>
                    <a:pt x="730" y="1592"/>
                  </a:lnTo>
                  <a:lnTo>
                    <a:pt x="698" y="1582"/>
                  </a:lnTo>
                  <a:lnTo>
                    <a:pt x="664" y="1570"/>
                  </a:lnTo>
                  <a:lnTo>
                    <a:pt x="632" y="1558"/>
                  </a:lnTo>
                  <a:lnTo>
                    <a:pt x="602" y="1544"/>
                  </a:lnTo>
                  <a:lnTo>
                    <a:pt x="570" y="1528"/>
                  </a:lnTo>
                  <a:lnTo>
                    <a:pt x="542" y="1512"/>
                  </a:lnTo>
                  <a:lnTo>
                    <a:pt x="512" y="1492"/>
                  </a:lnTo>
                  <a:lnTo>
                    <a:pt x="484" y="1474"/>
                  </a:lnTo>
                  <a:lnTo>
                    <a:pt x="458" y="1452"/>
                  </a:lnTo>
                  <a:lnTo>
                    <a:pt x="432" y="1430"/>
                  </a:lnTo>
                  <a:lnTo>
                    <a:pt x="408" y="1406"/>
                  </a:lnTo>
                  <a:lnTo>
                    <a:pt x="384" y="1382"/>
                  </a:lnTo>
                  <a:lnTo>
                    <a:pt x="362" y="1356"/>
                  </a:lnTo>
                  <a:lnTo>
                    <a:pt x="342" y="1330"/>
                  </a:lnTo>
                  <a:lnTo>
                    <a:pt x="322" y="1302"/>
                  </a:lnTo>
                  <a:lnTo>
                    <a:pt x="304" y="1274"/>
                  </a:lnTo>
                  <a:lnTo>
                    <a:pt x="286" y="1244"/>
                  </a:lnTo>
                  <a:lnTo>
                    <a:pt x="272" y="1214"/>
                  </a:lnTo>
                  <a:lnTo>
                    <a:pt x="256" y="1182"/>
                  </a:lnTo>
                  <a:lnTo>
                    <a:pt x="244" y="1150"/>
                  </a:lnTo>
                  <a:lnTo>
                    <a:pt x="234" y="1118"/>
                  </a:lnTo>
                  <a:lnTo>
                    <a:pt x="224" y="1084"/>
                  </a:lnTo>
                  <a:lnTo>
                    <a:pt x="216" y="1050"/>
                  </a:lnTo>
                  <a:lnTo>
                    <a:pt x="210" y="1016"/>
                  </a:lnTo>
                  <a:lnTo>
                    <a:pt x="206" y="980"/>
                  </a:lnTo>
                  <a:lnTo>
                    <a:pt x="202" y="944"/>
                  </a:lnTo>
                  <a:lnTo>
                    <a:pt x="202" y="908"/>
                  </a:lnTo>
                  <a:lnTo>
                    <a:pt x="202" y="872"/>
                  </a:lnTo>
                  <a:lnTo>
                    <a:pt x="206" y="836"/>
                  </a:lnTo>
                  <a:lnTo>
                    <a:pt x="210" y="800"/>
                  </a:lnTo>
                  <a:lnTo>
                    <a:pt x="216" y="766"/>
                  </a:lnTo>
                  <a:lnTo>
                    <a:pt x="224" y="732"/>
                  </a:lnTo>
                  <a:lnTo>
                    <a:pt x="234" y="698"/>
                  </a:lnTo>
                  <a:lnTo>
                    <a:pt x="244" y="664"/>
                  </a:lnTo>
                  <a:lnTo>
                    <a:pt x="256" y="632"/>
                  </a:lnTo>
                  <a:lnTo>
                    <a:pt x="272" y="602"/>
                  </a:lnTo>
                  <a:lnTo>
                    <a:pt x="286" y="572"/>
                  </a:lnTo>
                  <a:lnTo>
                    <a:pt x="304" y="542"/>
                  </a:lnTo>
                  <a:lnTo>
                    <a:pt x="322" y="512"/>
                  </a:lnTo>
                  <a:lnTo>
                    <a:pt x="342" y="486"/>
                  </a:lnTo>
                  <a:lnTo>
                    <a:pt x="362" y="458"/>
                  </a:lnTo>
                  <a:lnTo>
                    <a:pt x="384" y="432"/>
                  </a:lnTo>
                  <a:lnTo>
                    <a:pt x="408" y="408"/>
                  </a:lnTo>
                  <a:lnTo>
                    <a:pt x="432" y="386"/>
                  </a:lnTo>
                  <a:lnTo>
                    <a:pt x="458" y="362"/>
                  </a:lnTo>
                  <a:lnTo>
                    <a:pt x="484" y="342"/>
                  </a:lnTo>
                  <a:lnTo>
                    <a:pt x="512" y="322"/>
                  </a:lnTo>
                  <a:lnTo>
                    <a:pt x="542" y="304"/>
                  </a:lnTo>
                  <a:lnTo>
                    <a:pt x="570" y="286"/>
                  </a:lnTo>
                  <a:lnTo>
                    <a:pt x="602" y="272"/>
                  </a:lnTo>
                  <a:lnTo>
                    <a:pt x="632" y="258"/>
                  </a:lnTo>
                  <a:lnTo>
                    <a:pt x="664" y="244"/>
                  </a:lnTo>
                  <a:lnTo>
                    <a:pt x="698" y="234"/>
                  </a:lnTo>
                  <a:lnTo>
                    <a:pt x="730" y="224"/>
                  </a:lnTo>
                  <a:lnTo>
                    <a:pt x="766" y="216"/>
                  </a:lnTo>
                  <a:lnTo>
                    <a:pt x="800" y="210"/>
                  </a:lnTo>
                  <a:lnTo>
                    <a:pt x="836" y="206"/>
                  </a:lnTo>
                  <a:lnTo>
                    <a:pt x="872" y="202"/>
                  </a:lnTo>
                  <a:lnTo>
                    <a:pt x="908" y="202"/>
                  </a:lnTo>
                  <a:lnTo>
                    <a:pt x="944" y="202"/>
                  </a:lnTo>
                  <a:lnTo>
                    <a:pt x="980" y="206"/>
                  </a:lnTo>
                  <a:lnTo>
                    <a:pt x="1014" y="210"/>
                  </a:lnTo>
                  <a:lnTo>
                    <a:pt x="1050" y="216"/>
                  </a:lnTo>
                  <a:lnTo>
                    <a:pt x="1084" y="224"/>
                  </a:lnTo>
                  <a:lnTo>
                    <a:pt x="1118" y="234"/>
                  </a:lnTo>
                  <a:lnTo>
                    <a:pt x="1150" y="244"/>
                  </a:lnTo>
                  <a:lnTo>
                    <a:pt x="1182" y="258"/>
                  </a:lnTo>
                  <a:lnTo>
                    <a:pt x="1214" y="272"/>
                  </a:lnTo>
                  <a:lnTo>
                    <a:pt x="1244" y="286"/>
                  </a:lnTo>
                  <a:lnTo>
                    <a:pt x="1274" y="304"/>
                  </a:lnTo>
                  <a:lnTo>
                    <a:pt x="1302" y="322"/>
                  </a:lnTo>
                  <a:lnTo>
                    <a:pt x="1330" y="342"/>
                  </a:lnTo>
                  <a:lnTo>
                    <a:pt x="1356" y="362"/>
                  </a:lnTo>
                  <a:lnTo>
                    <a:pt x="1382" y="386"/>
                  </a:lnTo>
                  <a:lnTo>
                    <a:pt x="1406" y="408"/>
                  </a:lnTo>
                  <a:lnTo>
                    <a:pt x="1430" y="432"/>
                  </a:lnTo>
                  <a:lnTo>
                    <a:pt x="1452" y="458"/>
                  </a:lnTo>
                  <a:lnTo>
                    <a:pt x="1474" y="486"/>
                  </a:lnTo>
                  <a:lnTo>
                    <a:pt x="1492" y="512"/>
                  </a:lnTo>
                  <a:lnTo>
                    <a:pt x="1512" y="542"/>
                  </a:lnTo>
                  <a:lnTo>
                    <a:pt x="1528" y="572"/>
                  </a:lnTo>
                  <a:lnTo>
                    <a:pt x="1544" y="602"/>
                  </a:lnTo>
                  <a:lnTo>
                    <a:pt x="1558" y="632"/>
                  </a:lnTo>
                  <a:lnTo>
                    <a:pt x="1570" y="664"/>
                  </a:lnTo>
                  <a:lnTo>
                    <a:pt x="1582" y="698"/>
                  </a:lnTo>
                  <a:lnTo>
                    <a:pt x="1592" y="732"/>
                  </a:lnTo>
                  <a:lnTo>
                    <a:pt x="1598" y="766"/>
                  </a:lnTo>
                  <a:lnTo>
                    <a:pt x="1606" y="800"/>
                  </a:lnTo>
                  <a:lnTo>
                    <a:pt x="1610" y="836"/>
                  </a:lnTo>
                  <a:lnTo>
                    <a:pt x="1612" y="872"/>
                  </a:lnTo>
                  <a:lnTo>
                    <a:pt x="1614" y="908"/>
                  </a:lnTo>
                  <a:lnTo>
                    <a:pt x="1612" y="944"/>
                  </a:lnTo>
                  <a:lnTo>
                    <a:pt x="1610" y="980"/>
                  </a:lnTo>
                  <a:lnTo>
                    <a:pt x="1606" y="1016"/>
                  </a:lnTo>
                  <a:lnTo>
                    <a:pt x="1598" y="1050"/>
                  </a:lnTo>
                  <a:lnTo>
                    <a:pt x="1592" y="1084"/>
                  </a:lnTo>
                  <a:lnTo>
                    <a:pt x="1582" y="1118"/>
                  </a:lnTo>
                  <a:lnTo>
                    <a:pt x="1570" y="1150"/>
                  </a:lnTo>
                  <a:lnTo>
                    <a:pt x="1558" y="1182"/>
                  </a:lnTo>
                  <a:lnTo>
                    <a:pt x="1544" y="1214"/>
                  </a:lnTo>
                  <a:lnTo>
                    <a:pt x="1528" y="1244"/>
                  </a:lnTo>
                  <a:lnTo>
                    <a:pt x="1512" y="1274"/>
                  </a:lnTo>
                  <a:lnTo>
                    <a:pt x="1492" y="1302"/>
                  </a:lnTo>
                  <a:lnTo>
                    <a:pt x="1474" y="1330"/>
                  </a:lnTo>
                  <a:lnTo>
                    <a:pt x="1452" y="1356"/>
                  </a:lnTo>
                  <a:lnTo>
                    <a:pt x="1430" y="1382"/>
                  </a:lnTo>
                  <a:lnTo>
                    <a:pt x="1406" y="1406"/>
                  </a:lnTo>
                  <a:lnTo>
                    <a:pt x="1382" y="1430"/>
                  </a:lnTo>
                  <a:lnTo>
                    <a:pt x="1356" y="1452"/>
                  </a:lnTo>
                  <a:lnTo>
                    <a:pt x="1330" y="1474"/>
                  </a:lnTo>
                  <a:lnTo>
                    <a:pt x="1302" y="1492"/>
                  </a:lnTo>
                  <a:lnTo>
                    <a:pt x="1274" y="1512"/>
                  </a:lnTo>
                  <a:lnTo>
                    <a:pt x="1244" y="1528"/>
                  </a:lnTo>
                  <a:lnTo>
                    <a:pt x="1214" y="1544"/>
                  </a:lnTo>
                  <a:lnTo>
                    <a:pt x="1182" y="1558"/>
                  </a:lnTo>
                  <a:lnTo>
                    <a:pt x="1150" y="1570"/>
                  </a:lnTo>
                  <a:lnTo>
                    <a:pt x="1118" y="1582"/>
                  </a:lnTo>
                  <a:lnTo>
                    <a:pt x="1084" y="1592"/>
                  </a:lnTo>
                  <a:lnTo>
                    <a:pt x="1050" y="1600"/>
                  </a:lnTo>
                  <a:lnTo>
                    <a:pt x="1014" y="1606"/>
                  </a:lnTo>
                  <a:lnTo>
                    <a:pt x="980" y="1610"/>
                  </a:lnTo>
                  <a:lnTo>
                    <a:pt x="944" y="1612"/>
                  </a:lnTo>
                  <a:lnTo>
                    <a:pt x="908" y="1614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prstDash val="sysDot"/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41" name="Oval 680"/>
            <p:cNvSpPr>
              <a:spLocks noChangeArrowheads="1"/>
            </p:cNvSpPr>
            <p:nvPr/>
          </p:nvSpPr>
          <p:spPr bwMode="auto">
            <a:xfrm rot="21275257">
              <a:off x="6055303" y="4040109"/>
              <a:ext cx="1577975" cy="1577975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ko-KR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Malgun Gothic" panose="020B0503020000020004" charset="-127"/>
                <a:cs typeface="Malgun Gothic" panose="020B0503020000020004" charset="-127"/>
                <a:sym typeface="Arial" panose="020B0604020202020204" pitchFamily="34" charset="0"/>
              </a:endParaRPr>
            </a:p>
          </p:txBody>
        </p:sp>
        <p:sp>
          <p:nvSpPr>
            <p:cNvPr id="42" name="Arc 681"/>
            <p:cNvSpPr/>
            <p:nvPr/>
          </p:nvSpPr>
          <p:spPr bwMode="auto">
            <a:xfrm rot="7501686">
              <a:off x="4141572" y="3609103"/>
              <a:ext cx="1906587" cy="1549400"/>
            </a:xfrm>
            <a:custGeom>
              <a:avLst/>
              <a:gdLst>
                <a:gd name="T0" fmla="*/ 2147483647 w 21600"/>
                <a:gd name="T1" fmla="*/ 0 h 15695"/>
                <a:gd name="T2" fmla="*/ 2147483647 w 21600"/>
                <a:gd name="T3" fmla="*/ 2147483647 h 15695"/>
                <a:gd name="T4" fmla="*/ 0 w 21600"/>
                <a:gd name="T5" fmla="*/ 2147483647 h 15695"/>
                <a:gd name="T6" fmla="*/ 0 60000 65536"/>
                <a:gd name="T7" fmla="*/ 0 60000 65536"/>
                <a:gd name="T8" fmla="*/ 0 60000 65536"/>
                <a:gd name="T9" fmla="*/ 0 w 21600"/>
                <a:gd name="T10" fmla="*/ 0 h 15695"/>
                <a:gd name="T11" fmla="*/ 21600 w 21600"/>
                <a:gd name="T12" fmla="*/ 15695 h 1569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15695" fill="none" extrusionOk="0">
                  <a:moveTo>
                    <a:pt x="14840" y="-1"/>
                  </a:moveTo>
                  <a:cubicBezTo>
                    <a:pt x="19155" y="4079"/>
                    <a:pt x="21600" y="9756"/>
                    <a:pt x="21600" y="15695"/>
                  </a:cubicBezTo>
                </a:path>
                <a:path w="21600" h="15695" stroke="0" extrusionOk="0">
                  <a:moveTo>
                    <a:pt x="14840" y="-1"/>
                  </a:moveTo>
                  <a:cubicBezTo>
                    <a:pt x="19155" y="4079"/>
                    <a:pt x="21600" y="9756"/>
                    <a:pt x="21600" y="15695"/>
                  </a:cubicBezTo>
                  <a:lnTo>
                    <a:pt x="0" y="15695"/>
                  </a:lnTo>
                  <a:lnTo>
                    <a:pt x="14840" y="-1"/>
                  </a:lnTo>
                  <a:close/>
                </a:path>
              </a:pathLst>
            </a:custGeom>
            <a:noFill/>
            <a:ln w="9525">
              <a:solidFill>
                <a:sysClr val="window" lastClr="FFFFFF">
                  <a:lumMod val="50000"/>
                </a:sysClr>
              </a:solidFill>
              <a:prstDash val="sysDot"/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just" defTabSz="1054735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 sz="900" kern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43" name="Arc 683"/>
            <p:cNvSpPr/>
            <p:nvPr/>
          </p:nvSpPr>
          <p:spPr bwMode="auto">
            <a:xfrm rot="256945">
              <a:off x="7018916" y="2744709"/>
              <a:ext cx="620712" cy="898525"/>
            </a:xfrm>
            <a:custGeom>
              <a:avLst/>
              <a:gdLst>
                <a:gd name="T0" fmla="*/ 2147483647 w 21600"/>
                <a:gd name="T1" fmla="*/ 0 h 31203"/>
                <a:gd name="T2" fmla="*/ 2147483647 w 21600"/>
                <a:gd name="T3" fmla="*/ 2147483647 h 31203"/>
                <a:gd name="T4" fmla="*/ 0 w 21600"/>
                <a:gd name="T5" fmla="*/ 2147483647 h 31203"/>
                <a:gd name="T6" fmla="*/ 0 60000 65536"/>
                <a:gd name="T7" fmla="*/ 0 60000 65536"/>
                <a:gd name="T8" fmla="*/ 0 60000 65536"/>
                <a:gd name="T9" fmla="*/ 0 w 21600"/>
                <a:gd name="T10" fmla="*/ 0 h 31203"/>
                <a:gd name="T11" fmla="*/ 21600 w 21600"/>
                <a:gd name="T12" fmla="*/ 31203 h 3120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1203" fill="none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cubicBezTo>
                    <a:pt x="21600" y="24780"/>
                    <a:pt x="20785" y="28155"/>
                    <a:pt x="19224" y="31202"/>
                  </a:cubicBezTo>
                </a:path>
                <a:path w="21600" h="31203" stroke="0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cubicBezTo>
                    <a:pt x="21600" y="24780"/>
                    <a:pt x="20785" y="28155"/>
                    <a:pt x="19224" y="31202"/>
                  </a:cubicBezTo>
                  <a:lnTo>
                    <a:pt x="0" y="21356"/>
                  </a:lnTo>
                  <a:lnTo>
                    <a:pt x="3237" y="-1"/>
                  </a:lnTo>
                  <a:close/>
                </a:path>
              </a:pathLst>
            </a:custGeom>
            <a:noFill/>
            <a:ln w="9525">
              <a:solidFill>
                <a:sysClr val="window" lastClr="FFFFFF">
                  <a:lumMod val="50000"/>
                </a:sysClr>
              </a:solidFill>
              <a:prstDash val="sysDot"/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just" defTabSz="1054735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 sz="900" kern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5" name="Content Placeholder 2"/>
          <p:cNvSpPr txBox="1"/>
          <p:nvPr/>
        </p:nvSpPr>
        <p:spPr>
          <a:xfrm>
            <a:off x="8853805" y="2071370"/>
            <a:ext cx="991235" cy="513080"/>
          </a:xfrm>
          <a:prstGeom prst="rect">
            <a:avLst/>
          </a:prstGeom>
        </p:spPr>
        <p:txBody>
          <a:bodyPr vert="horz" lIns="105484" tIns="52741" rIns="105484" bIns="5274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zh-CN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加强宣导</a:t>
            </a:r>
          </a:p>
        </p:txBody>
      </p:sp>
      <p:sp>
        <p:nvSpPr>
          <p:cNvPr id="46" name="Content Placeholder 2"/>
          <p:cNvSpPr txBox="1"/>
          <p:nvPr/>
        </p:nvSpPr>
        <p:spPr>
          <a:xfrm>
            <a:off x="8501380" y="5498465"/>
            <a:ext cx="991235" cy="513080"/>
          </a:xfrm>
          <a:prstGeom prst="rect">
            <a:avLst/>
          </a:prstGeom>
        </p:spPr>
        <p:txBody>
          <a:bodyPr vert="horz" lIns="105484" tIns="52741" rIns="105484" bIns="5274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加强技</a:t>
            </a: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能培训</a:t>
            </a:r>
          </a:p>
        </p:txBody>
      </p:sp>
      <p:sp>
        <p:nvSpPr>
          <p:cNvPr id="47" name="Content Placeholder 2"/>
          <p:cNvSpPr txBox="1"/>
          <p:nvPr/>
        </p:nvSpPr>
        <p:spPr>
          <a:xfrm>
            <a:off x="5694045" y="3841115"/>
            <a:ext cx="991235" cy="513080"/>
          </a:xfrm>
          <a:prstGeom prst="rect">
            <a:avLst/>
          </a:prstGeom>
        </p:spPr>
        <p:txBody>
          <a:bodyPr vert="horz" lIns="105484" tIns="52741" rIns="105484" bIns="5274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提高开</a:t>
            </a: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发质量</a:t>
            </a:r>
          </a:p>
        </p:txBody>
      </p:sp>
      <p:grpSp>
        <p:nvGrpSpPr>
          <p:cNvPr id="53" name="Group 17"/>
          <p:cNvGrpSpPr/>
          <p:nvPr/>
        </p:nvGrpSpPr>
        <p:grpSpPr>
          <a:xfrm>
            <a:off x="7091680" y="5132070"/>
            <a:ext cx="436880" cy="436880"/>
            <a:chOff x="5607370" y="3562829"/>
            <a:chExt cx="587140" cy="587140"/>
          </a:xfrm>
          <a:solidFill>
            <a:sysClr val="window" lastClr="FFFFFF"/>
          </a:solidFill>
        </p:grpSpPr>
        <p:sp>
          <p:nvSpPr>
            <p:cNvPr id="54" name="Freeform 15"/>
            <p:cNvSpPr>
              <a:spLocks noEditPoints="1"/>
            </p:cNvSpPr>
            <p:nvPr/>
          </p:nvSpPr>
          <p:spPr bwMode="auto">
            <a:xfrm>
              <a:off x="5746497" y="3702123"/>
              <a:ext cx="308897" cy="308544"/>
            </a:xfrm>
            <a:custGeom>
              <a:avLst/>
              <a:gdLst>
                <a:gd name="T0" fmla="*/ 183 w 371"/>
                <a:gd name="T1" fmla="*/ 1 h 370"/>
                <a:gd name="T2" fmla="*/ 2 w 371"/>
                <a:gd name="T3" fmla="*/ 187 h 370"/>
                <a:gd name="T4" fmla="*/ 188 w 371"/>
                <a:gd name="T5" fmla="*/ 369 h 370"/>
                <a:gd name="T6" fmla="*/ 370 w 371"/>
                <a:gd name="T7" fmla="*/ 182 h 370"/>
                <a:gd name="T8" fmla="*/ 183 w 371"/>
                <a:gd name="T9" fmla="*/ 1 h 370"/>
                <a:gd name="T10" fmla="*/ 184 w 371"/>
                <a:gd name="T11" fmla="*/ 25 h 370"/>
                <a:gd name="T12" fmla="*/ 260 w 371"/>
                <a:gd name="T13" fmla="*/ 43 h 370"/>
                <a:gd name="T14" fmla="*/ 235 w 371"/>
                <a:gd name="T15" fmla="*/ 84 h 370"/>
                <a:gd name="T16" fmla="*/ 186 w 371"/>
                <a:gd name="T17" fmla="*/ 73 h 370"/>
                <a:gd name="T18" fmla="*/ 137 w 371"/>
                <a:gd name="T19" fmla="*/ 84 h 370"/>
                <a:gd name="T20" fmla="*/ 112 w 371"/>
                <a:gd name="T21" fmla="*/ 43 h 370"/>
                <a:gd name="T22" fmla="*/ 184 w 371"/>
                <a:gd name="T23" fmla="*/ 25 h 370"/>
                <a:gd name="T24" fmla="*/ 85 w 371"/>
                <a:gd name="T25" fmla="*/ 234 h 370"/>
                <a:gd name="T26" fmla="*/ 44 w 371"/>
                <a:gd name="T27" fmla="*/ 259 h 370"/>
                <a:gd name="T28" fmla="*/ 26 w 371"/>
                <a:gd name="T29" fmla="*/ 187 h 370"/>
                <a:gd name="T30" fmla="*/ 44 w 371"/>
                <a:gd name="T31" fmla="*/ 111 h 370"/>
                <a:gd name="T32" fmla="*/ 85 w 371"/>
                <a:gd name="T33" fmla="*/ 136 h 370"/>
                <a:gd name="T34" fmla="*/ 74 w 371"/>
                <a:gd name="T35" fmla="*/ 185 h 370"/>
                <a:gd name="T36" fmla="*/ 85 w 371"/>
                <a:gd name="T37" fmla="*/ 234 h 370"/>
                <a:gd name="T38" fmla="*/ 188 w 371"/>
                <a:gd name="T39" fmla="*/ 345 h 370"/>
                <a:gd name="T40" fmla="*/ 112 w 371"/>
                <a:gd name="T41" fmla="*/ 327 h 370"/>
                <a:gd name="T42" fmla="*/ 137 w 371"/>
                <a:gd name="T43" fmla="*/ 286 h 370"/>
                <a:gd name="T44" fmla="*/ 186 w 371"/>
                <a:gd name="T45" fmla="*/ 297 h 370"/>
                <a:gd name="T46" fmla="*/ 235 w 371"/>
                <a:gd name="T47" fmla="*/ 286 h 370"/>
                <a:gd name="T48" fmla="*/ 260 w 371"/>
                <a:gd name="T49" fmla="*/ 327 h 370"/>
                <a:gd name="T50" fmla="*/ 188 w 371"/>
                <a:gd name="T51" fmla="*/ 345 h 370"/>
                <a:gd name="T52" fmla="*/ 186 w 371"/>
                <a:gd name="T53" fmla="*/ 273 h 370"/>
                <a:gd name="T54" fmla="*/ 98 w 371"/>
                <a:gd name="T55" fmla="*/ 185 h 370"/>
                <a:gd name="T56" fmla="*/ 186 w 371"/>
                <a:gd name="T57" fmla="*/ 97 h 370"/>
                <a:gd name="T58" fmla="*/ 274 w 371"/>
                <a:gd name="T59" fmla="*/ 185 h 370"/>
                <a:gd name="T60" fmla="*/ 186 w 371"/>
                <a:gd name="T61" fmla="*/ 273 h 370"/>
                <a:gd name="T62" fmla="*/ 286 w 371"/>
                <a:gd name="T63" fmla="*/ 234 h 370"/>
                <a:gd name="T64" fmla="*/ 298 w 371"/>
                <a:gd name="T65" fmla="*/ 185 h 370"/>
                <a:gd name="T66" fmla="*/ 286 w 371"/>
                <a:gd name="T67" fmla="*/ 136 h 370"/>
                <a:gd name="T68" fmla="*/ 328 w 371"/>
                <a:gd name="T69" fmla="*/ 111 h 370"/>
                <a:gd name="T70" fmla="*/ 346 w 371"/>
                <a:gd name="T71" fmla="*/ 183 h 370"/>
                <a:gd name="T72" fmla="*/ 328 w 371"/>
                <a:gd name="T73" fmla="*/ 259 h 370"/>
                <a:gd name="T74" fmla="*/ 286 w 371"/>
                <a:gd name="T75" fmla="*/ 234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1" h="370">
                  <a:moveTo>
                    <a:pt x="183" y="1"/>
                  </a:moveTo>
                  <a:cubicBezTo>
                    <a:pt x="82" y="2"/>
                    <a:pt x="0" y="86"/>
                    <a:pt x="2" y="187"/>
                  </a:cubicBezTo>
                  <a:cubicBezTo>
                    <a:pt x="3" y="289"/>
                    <a:pt x="87" y="370"/>
                    <a:pt x="188" y="369"/>
                  </a:cubicBezTo>
                  <a:cubicBezTo>
                    <a:pt x="290" y="368"/>
                    <a:pt x="371" y="284"/>
                    <a:pt x="370" y="182"/>
                  </a:cubicBezTo>
                  <a:cubicBezTo>
                    <a:pt x="368" y="81"/>
                    <a:pt x="285" y="0"/>
                    <a:pt x="183" y="1"/>
                  </a:cubicBezTo>
                  <a:close/>
                  <a:moveTo>
                    <a:pt x="184" y="25"/>
                  </a:moveTo>
                  <a:cubicBezTo>
                    <a:pt x="211" y="25"/>
                    <a:pt x="237" y="31"/>
                    <a:pt x="260" y="43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20" y="77"/>
                    <a:pt x="203" y="73"/>
                    <a:pt x="186" y="73"/>
                  </a:cubicBezTo>
                  <a:cubicBezTo>
                    <a:pt x="168" y="73"/>
                    <a:pt x="151" y="77"/>
                    <a:pt x="137" y="84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33" y="32"/>
                    <a:pt x="158" y="25"/>
                    <a:pt x="184" y="25"/>
                  </a:cubicBezTo>
                  <a:close/>
                  <a:moveTo>
                    <a:pt x="85" y="234"/>
                  </a:moveTo>
                  <a:cubicBezTo>
                    <a:pt x="44" y="259"/>
                    <a:pt x="44" y="259"/>
                    <a:pt x="44" y="259"/>
                  </a:cubicBezTo>
                  <a:cubicBezTo>
                    <a:pt x="33" y="237"/>
                    <a:pt x="26" y="213"/>
                    <a:pt x="26" y="187"/>
                  </a:cubicBezTo>
                  <a:cubicBezTo>
                    <a:pt x="25" y="160"/>
                    <a:pt x="32" y="134"/>
                    <a:pt x="44" y="111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78" y="151"/>
                    <a:pt x="74" y="167"/>
                    <a:pt x="74" y="185"/>
                  </a:cubicBezTo>
                  <a:cubicBezTo>
                    <a:pt x="74" y="203"/>
                    <a:pt x="78" y="219"/>
                    <a:pt x="85" y="234"/>
                  </a:cubicBezTo>
                  <a:close/>
                  <a:moveTo>
                    <a:pt x="188" y="345"/>
                  </a:moveTo>
                  <a:cubicBezTo>
                    <a:pt x="161" y="345"/>
                    <a:pt x="135" y="339"/>
                    <a:pt x="112" y="327"/>
                  </a:cubicBezTo>
                  <a:cubicBezTo>
                    <a:pt x="137" y="286"/>
                    <a:pt x="137" y="286"/>
                    <a:pt x="137" y="286"/>
                  </a:cubicBezTo>
                  <a:cubicBezTo>
                    <a:pt x="151" y="293"/>
                    <a:pt x="168" y="297"/>
                    <a:pt x="186" y="297"/>
                  </a:cubicBezTo>
                  <a:cubicBezTo>
                    <a:pt x="203" y="297"/>
                    <a:pt x="220" y="293"/>
                    <a:pt x="235" y="286"/>
                  </a:cubicBezTo>
                  <a:cubicBezTo>
                    <a:pt x="260" y="327"/>
                    <a:pt x="260" y="327"/>
                    <a:pt x="260" y="327"/>
                  </a:cubicBezTo>
                  <a:cubicBezTo>
                    <a:pt x="238" y="338"/>
                    <a:pt x="214" y="345"/>
                    <a:pt x="188" y="345"/>
                  </a:cubicBezTo>
                  <a:close/>
                  <a:moveTo>
                    <a:pt x="186" y="273"/>
                  </a:moveTo>
                  <a:cubicBezTo>
                    <a:pt x="137" y="273"/>
                    <a:pt x="98" y="233"/>
                    <a:pt x="98" y="185"/>
                  </a:cubicBezTo>
                  <a:cubicBezTo>
                    <a:pt x="98" y="136"/>
                    <a:pt x="137" y="97"/>
                    <a:pt x="186" y="97"/>
                  </a:cubicBezTo>
                  <a:cubicBezTo>
                    <a:pt x="234" y="97"/>
                    <a:pt x="274" y="136"/>
                    <a:pt x="274" y="185"/>
                  </a:cubicBezTo>
                  <a:cubicBezTo>
                    <a:pt x="274" y="233"/>
                    <a:pt x="234" y="273"/>
                    <a:pt x="186" y="273"/>
                  </a:cubicBezTo>
                  <a:close/>
                  <a:moveTo>
                    <a:pt x="286" y="234"/>
                  </a:moveTo>
                  <a:cubicBezTo>
                    <a:pt x="294" y="219"/>
                    <a:pt x="298" y="203"/>
                    <a:pt x="298" y="185"/>
                  </a:cubicBezTo>
                  <a:cubicBezTo>
                    <a:pt x="298" y="167"/>
                    <a:pt x="294" y="151"/>
                    <a:pt x="286" y="136"/>
                  </a:cubicBezTo>
                  <a:cubicBezTo>
                    <a:pt x="328" y="111"/>
                    <a:pt x="328" y="111"/>
                    <a:pt x="328" y="111"/>
                  </a:cubicBezTo>
                  <a:cubicBezTo>
                    <a:pt x="339" y="133"/>
                    <a:pt x="345" y="157"/>
                    <a:pt x="346" y="183"/>
                  </a:cubicBezTo>
                  <a:cubicBezTo>
                    <a:pt x="346" y="210"/>
                    <a:pt x="340" y="236"/>
                    <a:pt x="328" y="259"/>
                  </a:cubicBezTo>
                  <a:lnTo>
                    <a:pt x="286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5" name="Freeform 23"/>
            <p:cNvSpPr>
              <a:spLocks noEditPoints="1"/>
            </p:cNvSpPr>
            <p:nvPr/>
          </p:nvSpPr>
          <p:spPr bwMode="auto">
            <a:xfrm>
              <a:off x="5607370" y="3562829"/>
              <a:ext cx="587140" cy="587140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349 h 384"/>
                <a:gd name="T12" fmla="*/ 35 w 384"/>
                <a:gd name="T13" fmla="*/ 192 h 384"/>
                <a:gd name="T14" fmla="*/ 192 w 384"/>
                <a:gd name="T15" fmla="*/ 35 h 384"/>
                <a:gd name="T16" fmla="*/ 349 w 384"/>
                <a:gd name="T17" fmla="*/ 192 h 384"/>
                <a:gd name="T18" fmla="*/ 192 w 384"/>
                <a:gd name="T19" fmla="*/ 349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349"/>
                  </a:moveTo>
                  <a:cubicBezTo>
                    <a:pt x="105" y="349"/>
                    <a:pt x="35" y="278"/>
                    <a:pt x="35" y="192"/>
                  </a:cubicBezTo>
                  <a:cubicBezTo>
                    <a:pt x="35" y="105"/>
                    <a:pt x="105" y="35"/>
                    <a:pt x="192" y="35"/>
                  </a:cubicBezTo>
                  <a:cubicBezTo>
                    <a:pt x="278" y="35"/>
                    <a:pt x="349" y="105"/>
                    <a:pt x="349" y="192"/>
                  </a:cubicBezTo>
                  <a:cubicBezTo>
                    <a:pt x="349" y="278"/>
                    <a:pt x="278" y="349"/>
                    <a:pt x="192" y="3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56" name="Group 20"/>
          <p:cNvGrpSpPr/>
          <p:nvPr/>
        </p:nvGrpSpPr>
        <p:grpSpPr>
          <a:xfrm>
            <a:off x="7089140" y="2034540"/>
            <a:ext cx="627380" cy="627380"/>
            <a:chOff x="6665323" y="3562825"/>
            <a:chExt cx="587140" cy="587140"/>
          </a:xfrm>
          <a:solidFill>
            <a:sysClr val="window" lastClr="FFFFFF"/>
          </a:solidFill>
        </p:grpSpPr>
        <p:sp>
          <p:nvSpPr>
            <p:cNvPr id="57" name="Freeform 19"/>
            <p:cNvSpPr>
              <a:spLocks noEditPoints="1"/>
            </p:cNvSpPr>
            <p:nvPr/>
          </p:nvSpPr>
          <p:spPr bwMode="auto">
            <a:xfrm>
              <a:off x="6808144" y="3735126"/>
              <a:ext cx="301499" cy="242538"/>
            </a:xfrm>
            <a:custGeom>
              <a:avLst/>
              <a:gdLst>
                <a:gd name="T0" fmla="*/ 393 w 400"/>
                <a:gd name="T1" fmla="*/ 61 h 322"/>
                <a:gd name="T2" fmla="*/ 300 w 400"/>
                <a:gd name="T3" fmla="*/ 3 h 322"/>
                <a:gd name="T4" fmla="*/ 286 w 400"/>
                <a:gd name="T5" fmla="*/ 3 h 322"/>
                <a:gd name="T6" fmla="*/ 200 w 400"/>
                <a:gd name="T7" fmla="*/ 57 h 322"/>
                <a:gd name="T8" fmla="*/ 113 w 400"/>
                <a:gd name="T9" fmla="*/ 3 h 322"/>
                <a:gd name="T10" fmla="*/ 100 w 400"/>
                <a:gd name="T11" fmla="*/ 3 h 322"/>
                <a:gd name="T12" fmla="*/ 6 w 400"/>
                <a:gd name="T13" fmla="*/ 61 h 322"/>
                <a:gd name="T14" fmla="*/ 0 w 400"/>
                <a:gd name="T15" fmla="*/ 73 h 322"/>
                <a:gd name="T16" fmla="*/ 0 w 400"/>
                <a:gd name="T17" fmla="*/ 307 h 322"/>
                <a:gd name="T18" fmla="*/ 6 w 400"/>
                <a:gd name="T19" fmla="*/ 319 h 322"/>
                <a:gd name="T20" fmla="*/ 20 w 400"/>
                <a:gd name="T21" fmla="*/ 319 h 322"/>
                <a:gd name="T22" fmla="*/ 106 w 400"/>
                <a:gd name="T23" fmla="*/ 265 h 322"/>
                <a:gd name="T24" fmla="*/ 193 w 400"/>
                <a:gd name="T25" fmla="*/ 319 h 322"/>
                <a:gd name="T26" fmla="*/ 207 w 400"/>
                <a:gd name="T27" fmla="*/ 319 h 322"/>
                <a:gd name="T28" fmla="*/ 293 w 400"/>
                <a:gd name="T29" fmla="*/ 265 h 322"/>
                <a:gd name="T30" fmla="*/ 380 w 400"/>
                <a:gd name="T31" fmla="*/ 319 h 322"/>
                <a:gd name="T32" fmla="*/ 387 w 400"/>
                <a:gd name="T33" fmla="*/ 321 h 322"/>
                <a:gd name="T34" fmla="*/ 393 w 400"/>
                <a:gd name="T35" fmla="*/ 319 h 322"/>
                <a:gd name="T36" fmla="*/ 400 w 400"/>
                <a:gd name="T37" fmla="*/ 307 h 322"/>
                <a:gd name="T38" fmla="*/ 400 w 400"/>
                <a:gd name="T39" fmla="*/ 73 h 322"/>
                <a:gd name="T40" fmla="*/ 393 w 400"/>
                <a:gd name="T41" fmla="*/ 61 h 322"/>
                <a:gd name="T42" fmla="*/ 93 w 400"/>
                <a:gd name="T43" fmla="*/ 241 h 322"/>
                <a:gd name="T44" fmla="*/ 26 w 400"/>
                <a:gd name="T45" fmla="*/ 283 h 322"/>
                <a:gd name="T46" fmla="*/ 26 w 400"/>
                <a:gd name="T47" fmla="*/ 81 h 322"/>
                <a:gd name="T48" fmla="*/ 93 w 400"/>
                <a:gd name="T49" fmla="*/ 39 h 322"/>
                <a:gd name="T50" fmla="*/ 93 w 400"/>
                <a:gd name="T51" fmla="*/ 241 h 322"/>
                <a:gd name="T52" fmla="*/ 187 w 400"/>
                <a:gd name="T53" fmla="*/ 283 h 322"/>
                <a:gd name="T54" fmla="*/ 119 w 400"/>
                <a:gd name="T55" fmla="*/ 241 h 322"/>
                <a:gd name="T56" fmla="*/ 119 w 400"/>
                <a:gd name="T57" fmla="*/ 39 h 322"/>
                <a:gd name="T58" fmla="*/ 187 w 400"/>
                <a:gd name="T59" fmla="*/ 81 h 322"/>
                <a:gd name="T60" fmla="*/ 187 w 400"/>
                <a:gd name="T61" fmla="*/ 283 h 322"/>
                <a:gd name="T62" fmla="*/ 280 w 400"/>
                <a:gd name="T63" fmla="*/ 241 h 322"/>
                <a:gd name="T64" fmla="*/ 213 w 400"/>
                <a:gd name="T65" fmla="*/ 283 h 322"/>
                <a:gd name="T66" fmla="*/ 213 w 400"/>
                <a:gd name="T67" fmla="*/ 81 h 322"/>
                <a:gd name="T68" fmla="*/ 280 w 400"/>
                <a:gd name="T69" fmla="*/ 39 h 322"/>
                <a:gd name="T70" fmla="*/ 280 w 400"/>
                <a:gd name="T71" fmla="*/ 241 h 322"/>
                <a:gd name="T72" fmla="*/ 374 w 400"/>
                <a:gd name="T73" fmla="*/ 283 h 322"/>
                <a:gd name="T74" fmla="*/ 306 w 400"/>
                <a:gd name="T75" fmla="*/ 241 h 322"/>
                <a:gd name="T76" fmla="*/ 306 w 400"/>
                <a:gd name="T77" fmla="*/ 39 h 322"/>
                <a:gd name="T78" fmla="*/ 374 w 400"/>
                <a:gd name="T79" fmla="*/ 81 h 322"/>
                <a:gd name="T80" fmla="*/ 374 w 400"/>
                <a:gd name="T81" fmla="*/ 28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0" h="322">
                  <a:moveTo>
                    <a:pt x="393" y="61"/>
                  </a:moveTo>
                  <a:cubicBezTo>
                    <a:pt x="300" y="3"/>
                    <a:pt x="300" y="3"/>
                    <a:pt x="300" y="3"/>
                  </a:cubicBezTo>
                  <a:cubicBezTo>
                    <a:pt x="296" y="0"/>
                    <a:pt x="291" y="0"/>
                    <a:pt x="286" y="3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09" y="0"/>
                    <a:pt x="104" y="0"/>
                    <a:pt x="100" y="3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2" y="64"/>
                    <a:pt x="0" y="68"/>
                    <a:pt x="0" y="73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312"/>
                    <a:pt x="2" y="317"/>
                    <a:pt x="6" y="319"/>
                  </a:cubicBezTo>
                  <a:cubicBezTo>
                    <a:pt x="11" y="322"/>
                    <a:pt x="16" y="321"/>
                    <a:pt x="20" y="319"/>
                  </a:cubicBezTo>
                  <a:cubicBezTo>
                    <a:pt x="106" y="265"/>
                    <a:pt x="106" y="265"/>
                    <a:pt x="106" y="265"/>
                  </a:cubicBezTo>
                  <a:cubicBezTo>
                    <a:pt x="193" y="319"/>
                    <a:pt x="193" y="319"/>
                    <a:pt x="193" y="319"/>
                  </a:cubicBezTo>
                  <a:cubicBezTo>
                    <a:pt x="197" y="322"/>
                    <a:pt x="202" y="322"/>
                    <a:pt x="207" y="319"/>
                  </a:cubicBezTo>
                  <a:cubicBezTo>
                    <a:pt x="293" y="265"/>
                    <a:pt x="293" y="265"/>
                    <a:pt x="293" y="265"/>
                  </a:cubicBezTo>
                  <a:cubicBezTo>
                    <a:pt x="380" y="319"/>
                    <a:pt x="380" y="319"/>
                    <a:pt x="380" y="319"/>
                  </a:cubicBezTo>
                  <a:cubicBezTo>
                    <a:pt x="382" y="320"/>
                    <a:pt x="384" y="321"/>
                    <a:pt x="387" y="321"/>
                  </a:cubicBezTo>
                  <a:cubicBezTo>
                    <a:pt x="389" y="321"/>
                    <a:pt x="391" y="320"/>
                    <a:pt x="393" y="319"/>
                  </a:cubicBezTo>
                  <a:cubicBezTo>
                    <a:pt x="397" y="317"/>
                    <a:pt x="400" y="312"/>
                    <a:pt x="400" y="307"/>
                  </a:cubicBezTo>
                  <a:cubicBezTo>
                    <a:pt x="400" y="73"/>
                    <a:pt x="400" y="73"/>
                    <a:pt x="400" y="73"/>
                  </a:cubicBezTo>
                  <a:cubicBezTo>
                    <a:pt x="400" y="68"/>
                    <a:pt x="397" y="64"/>
                    <a:pt x="393" y="61"/>
                  </a:cubicBezTo>
                  <a:close/>
                  <a:moveTo>
                    <a:pt x="93" y="241"/>
                  </a:moveTo>
                  <a:cubicBezTo>
                    <a:pt x="26" y="283"/>
                    <a:pt x="26" y="283"/>
                    <a:pt x="26" y="283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93" y="39"/>
                    <a:pt x="93" y="39"/>
                    <a:pt x="93" y="39"/>
                  </a:cubicBezTo>
                  <a:lnTo>
                    <a:pt x="93" y="241"/>
                  </a:lnTo>
                  <a:close/>
                  <a:moveTo>
                    <a:pt x="187" y="283"/>
                  </a:moveTo>
                  <a:cubicBezTo>
                    <a:pt x="119" y="241"/>
                    <a:pt x="119" y="241"/>
                    <a:pt x="119" y="24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87" y="81"/>
                    <a:pt x="187" y="81"/>
                    <a:pt x="187" y="81"/>
                  </a:cubicBezTo>
                  <a:lnTo>
                    <a:pt x="187" y="283"/>
                  </a:lnTo>
                  <a:close/>
                  <a:moveTo>
                    <a:pt x="280" y="241"/>
                  </a:moveTo>
                  <a:cubicBezTo>
                    <a:pt x="213" y="283"/>
                    <a:pt x="213" y="283"/>
                    <a:pt x="213" y="283"/>
                  </a:cubicBezTo>
                  <a:cubicBezTo>
                    <a:pt x="213" y="81"/>
                    <a:pt x="213" y="81"/>
                    <a:pt x="213" y="81"/>
                  </a:cubicBezTo>
                  <a:cubicBezTo>
                    <a:pt x="280" y="39"/>
                    <a:pt x="280" y="39"/>
                    <a:pt x="280" y="39"/>
                  </a:cubicBezTo>
                  <a:lnTo>
                    <a:pt x="280" y="241"/>
                  </a:lnTo>
                  <a:close/>
                  <a:moveTo>
                    <a:pt x="374" y="283"/>
                  </a:moveTo>
                  <a:cubicBezTo>
                    <a:pt x="306" y="241"/>
                    <a:pt x="306" y="241"/>
                    <a:pt x="306" y="241"/>
                  </a:cubicBezTo>
                  <a:cubicBezTo>
                    <a:pt x="306" y="39"/>
                    <a:pt x="306" y="39"/>
                    <a:pt x="306" y="39"/>
                  </a:cubicBezTo>
                  <a:cubicBezTo>
                    <a:pt x="374" y="81"/>
                    <a:pt x="374" y="81"/>
                    <a:pt x="374" y="81"/>
                  </a:cubicBezTo>
                  <a:lnTo>
                    <a:pt x="374" y="2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8" name="Freeform 23"/>
            <p:cNvSpPr>
              <a:spLocks noEditPoints="1"/>
            </p:cNvSpPr>
            <p:nvPr/>
          </p:nvSpPr>
          <p:spPr bwMode="auto">
            <a:xfrm>
              <a:off x="6665323" y="3562825"/>
              <a:ext cx="587140" cy="587140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349 h 384"/>
                <a:gd name="T12" fmla="*/ 35 w 384"/>
                <a:gd name="T13" fmla="*/ 192 h 384"/>
                <a:gd name="T14" fmla="*/ 192 w 384"/>
                <a:gd name="T15" fmla="*/ 35 h 384"/>
                <a:gd name="T16" fmla="*/ 349 w 384"/>
                <a:gd name="T17" fmla="*/ 192 h 384"/>
                <a:gd name="T18" fmla="*/ 192 w 384"/>
                <a:gd name="T19" fmla="*/ 349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349"/>
                  </a:moveTo>
                  <a:cubicBezTo>
                    <a:pt x="105" y="349"/>
                    <a:pt x="35" y="278"/>
                    <a:pt x="35" y="192"/>
                  </a:cubicBezTo>
                  <a:cubicBezTo>
                    <a:pt x="35" y="105"/>
                    <a:pt x="105" y="35"/>
                    <a:pt x="192" y="35"/>
                  </a:cubicBezTo>
                  <a:cubicBezTo>
                    <a:pt x="278" y="35"/>
                    <a:pt x="349" y="105"/>
                    <a:pt x="349" y="192"/>
                  </a:cubicBezTo>
                  <a:cubicBezTo>
                    <a:pt x="349" y="278"/>
                    <a:pt x="278" y="349"/>
                    <a:pt x="192" y="3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59" name="Group 23"/>
          <p:cNvGrpSpPr/>
          <p:nvPr/>
        </p:nvGrpSpPr>
        <p:grpSpPr>
          <a:xfrm>
            <a:off x="8037830" y="3891915"/>
            <a:ext cx="436880" cy="436880"/>
            <a:chOff x="7740352" y="3562825"/>
            <a:chExt cx="587140" cy="587140"/>
          </a:xfrm>
          <a:solidFill>
            <a:sysClr val="window" lastClr="FFFFFF"/>
          </a:solidFill>
        </p:grpSpPr>
        <p:sp>
          <p:nvSpPr>
            <p:cNvPr id="60" name="Freeform 24"/>
            <p:cNvSpPr>
              <a:spLocks noEditPoints="1"/>
            </p:cNvSpPr>
            <p:nvPr/>
          </p:nvSpPr>
          <p:spPr bwMode="auto">
            <a:xfrm>
              <a:off x="7740352" y="3562825"/>
              <a:ext cx="587140" cy="587140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349 h 384"/>
                <a:gd name="T12" fmla="*/ 35 w 384"/>
                <a:gd name="T13" fmla="*/ 192 h 384"/>
                <a:gd name="T14" fmla="*/ 192 w 384"/>
                <a:gd name="T15" fmla="*/ 35 h 384"/>
                <a:gd name="T16" fmla="*/ 349 w 384"/>
                <a:gd name="T17" fmla="*/ 192 h 384"/>
                <a:gd name="T18" fmla="*/ 192 w 384"/>
                <a:gd name="T19" fmla="*/ 349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349"/>
                  </a:moveTo>
                  <a:cubicBezTo>
                    <a:pt x="105" y="349"/>
                    <a:pt x="35" y="278"/>
                    <a:pt x="35" y="192"/>
                  </a:cubicBezTo>
                  <a:cubicBezTo>
                    <a:pt x="35" y="105"/>
                    <a:pt x="105" y="35"/>
                    <a:pt x="192" y="35"/>
                  </a:cubicBezTo>
                  <a:cubicBezTo>
                    <a:pt x="278" y="35"/>
                    <a:pt x="349" y="105"/>
                    <a:pt x="349" y="192"/>
                  </a:cubicBezTo>
                  <a:cubicBezTo>
                    <a:pt x="349" y="278"/>
                    <a:pt x="278" y="349"/>
                    <a:pt x="192" y="3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1" name="Freeform 27"/>
            <p:cNvSpPr>
              <a:spLocks noEditPoints="1"/>
            </p:cNvSpPr>
            <p:nvPr/>
          </p:nvSpPr>
          <p:spPr bwMode="auto">
            <a:xfrm>
              <a:off x="7931746" y="3722078"/>
              <a:ext cx="204352" cy="268635"/>
            </a:xfrm>
            <a:custGeom>
              <a:avLst/>
              <a:gdLst>
                <a:gd name="T0" fmla="*/ 96 w 256"/>
                <a:gd name="T1" fmla="*/ 48 h 336"/>
                <a:gd name="T2" fmla="*/ 48 w 256"/>
                <a:gd name="T3" fmla="*/ 0 h 336"/>
                <a:gd name="T4" fmla="*/ 0 w 256"/>
                <a:gd name="T5" fmla="*/ 48 h 336"/>
                <a:gd name="T6" fmla="*/ 29 w 256"/>
                <a:gd name="T7" fmla="*/ 92 h 336"/>
                <a:gd name="T8" fmla="*/ 29 w 256"/>
                <a:gd name="T9" fmla="*/ 244 h 336"/>
                <a:gd name="T10" fmla="*/ 0 w 256"/>
                <a:gd name="T11" fmla="*/ 288 h 336"/>
                <a:gd name="T12" fmla="*/ 48 w 256"/>
                <a:gd name="T13" fmla="*/ 336 h 336"/>
                <a:gd name="T14" fmla="*/ 96 w 256"/>
                <a:gd name="T15" fmla="*/ 288 h 336"/>
                <a:gd name="T16" fmla="*/ 67 w 256"/>
                <a:gd name="T17" fmla="*/ 244 h 336"/>
                <a:gd name="T18" fmla="*/ 67 w 256"/>
                <a:gd name="T19" fmla="*/ 92 h 336"/>
                <a:gd name="T20" fmla="*/ 96 w 256"/>
                <a:gd name="T21" fmla="*/ 48 h 336"/>
                <a:gd name="T22" fmla="*/ 75 w 256"/>
                <a:gd name="T23" fmla="*/ 288 h 336"/>
                <a:gd name="T24" fmla="*/ 48 w 256"/>
                <a:gd name="T25" fmla="*/ 316 h 336"/>
                <a:gd name="T26" fmla="*/ 20 w 256"/>
                <a:gd name="T27" fmla="*/ 288 h 336"/>
                <a:gd name="T28" fmla="*/ 48 w 256"/>
                <a:gd name="T29" fmla="*/ 260 h 336"/>
                <a:gd name="T30" fmla="*/ 75 w 256"/>
                <a:gd name="T31" fmla="*/ 288 h 336"/>
                <a:gd name="T32" fmla="*/ 48 w 256"/>
                <a:gd name="T33" fmla="*/ 76 h 336"/>
                <a:gd name="T34" fmla="*/ 20 w 256"/>
                <a:gd name="T35" fmla="*/ 48 h 336"/>
                <a:gd name="T36" fmla="*/ 48 w 256"/>
                <a:gd name="T37" fmla="*/ 20 h 336"/>
                <a:gd name="T38" fmla="*/ 75 w 256"/>
                <a:gd name="T39" fmla="*/ 48 h 336"/>
                <a:gd name="T40" fmla="*/ 48 w 256"/>
                <a:gd name="T41" fmla="*/ 76 h 336"/>
                <a:gd name="T42" fmla="*/ 227 w 256"/>
                <a:gd name="T43" fmla="*/ 244 h 336"/>
                <a:gd name="T44" fmla="*/ 227 w 256"/>
                <a:gd name="T45" fmla="*/ 92 h 336"/>
                <a:gd name="T46" fmla="*/ 256 w 256"/>
                <a:gd name="T47" fmla="*/ 48 h 336"/>
                <a:gd name="T48" fmla="*/ 208 w 256"/>
                <a:gd name="T49" fmla="*/ 0 h 336"/>
                <a:gd name="T50" fmla="*/ 160 w 256"/>
                <a:gd name="T51" fmla="*/ 48 h 336"/>
                <a:gd name="T52" fmla="*/ 189 w 256"/>
                <a:gd name="T53" fmla="*/ 92 h 336"/>
                <a:gd name="T54" fmla="*/ 189 w 256"/>
                <a:gd name="T55" fmla="*/ 244 h 336"/>
                <a:gd name="T56" fmla="*/ 160 w 256"/>
                <a:gd name="T57" fmla="*/ 288 h 336"/>
                <a:gd name="T58" fmla="*/ 208 w 256"/>
                <a:gd name="T59" fmla="*/ 336 h 336"/>
                <a:gd name="T60" fmla="*/ 256 w 256"/>
                <a:gd name="T61" fmla="*/ 288 h 336"/>
                <a:gd name="T62" fmla="*/ 227 w 256"/>
                <a:gd name="T63" fmla="*/ 244 h 336"/>
                <a:gd name="T64" fmla="*/ 180 w 256"/>
                <a:gd name="T65" fmla="*/ 48 h 336"/>
                <a:gd name="T66" fmla="*/ 208 w 256"/>
                <a:gd name="T67" fmla="*/ 20 h 336"/>
                <a:gd name="T68" fmla="*/ 235 w 256"/>
                <a:gd name="T69" fmla="*/ 48 h 336"/>
                <a:gd name="T70" fmla="*/ 208 w 256"/>
                <a:gd name="T71" fmla="*/ 76 h 336"/>
                <a:gd name="T72" fmla="*/ 180 w 256"/>
                <a:gd name="T73" fmla="*/ 48 h 336"/>
                <a:gd name="T74" fmla="*/ 208 w 256"/>
                <a:gd name="T75" fmla="*/ 316 h 336"/>
                <a:gd name="T76" fmla="*/ 180 w 256"/>
                <a:gd name="T77" fmla="*/ 288 h 336"/>
                <a:gd name="T78" fmla="*/ 208 w 256"/>
                <a:gd name="T79" fmla="*/ 260 h 336"/>
                <a:gd name="T80" fmla="*/ 235 w 256"/>
                <a:gd name="T81" fmla="*/ 288 h 336"/>
                <a:gd name="T82" fmla="*/ 208 w 256"/>
                <a:gd name="T83" fmla="*/ 31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6" h="336">
                  <a:moveTo>
                    <a:pt x="96" y="48"/>
                  </a:moveTo>
                  <a:cubicBezTo>
                    <a:pt x="96" y="21"/>
                    <a:pt x="74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68"/>
                    <a:pt x="12" y="85"/>
                    <a:pt x="29" y="92"/>
                  </a:cubicBezTo>
                  <a:cubicBezTo>
                    <a:pt x="29" y="244"/>
                    <a:pt x="29" y="244"/>
                    <a:pt x="29" y="244"/>
                  </a:cubicBezTo>
                  <a:cubicBezTo>
                    <a:pt x="12" y="251"/>
                    <a:pt x="0" y="268"/>
                    <a:pt x="0" y="288"/>
                  </a:cubicBezTo>
                  <a:cubicBezTo>
                    <a:pt x="0" y="314"/>
                    <a:pt x="21" y="336"/>
                    <a:pt x="48" y="336"/>
                  </a:cubicBezTo>
                  <a:cubicBezTo>
                    <a:pt x="74" y="336"/>
                    <a:pt x="96" y="314"/>
                    <a:pt x="96" y="288"/>
                  </a:cubicBezTo>
                  <a:cubicBezTo>
                    <a:pt x="96" y="268"/>
                    <a:pt x="84" y="251"/>
                    <a:pt x="67" y="244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84" y="85"/>
                    <a:pt x="96" y="68"/>
                    <a:pt x="96" y="48"/>
                  </a:cubicBezTo>
                  <a:close/>
                  <a:moveTo>
                    <a:pt x="75" y="288"/>
                  </a:moveTo>
                  <a:cubicBezTo>
                    <a:pt x="75" y="303"/>
                    <a:pt x="63" y="316"/>
                    <a:pt x="48" y="316"/>
                  </a:cubicBezTo>
                  <a:cubicBezTo>
                    <a:pt x="32" y="316"/>
                    <a:pt x="20" y="303"/>
                    <a:pt x="20" y="288"/>
                  </a:cubicBezTo>
                  <a:cubicBezTo>
                    <a:pt x="20" y="273"/>
                    <a:pt x="32" y="260"/>
                    <a:pt x="48" y="260"/>
                  </a:cubicBezTo>
                  <a:cubicBezTo>
                    <a:pt x="63" y="260"/>
                    <a:pt x="75" y="273"/>
                    <a:pt x="75" y="288"/>
                  </a:cubicBezTo>
                  <a:close/>
                  <a:moveTo>
                    <a:pt x="48" y="76"/>
                  </a:moveTo>
                  <a:cubicBezTo>
                    <a:pt x="32" y="76"/>
                    <a:pt x="20" y="63"/>
                    <a:pt x="20" y="48"/>
                  </a:cubicBezTo>
                  <a:cubicBezTo>
                    <a:pt x="20" y="33"/>
                    <a:pt x="32" y="20"/>
                    <a:pt x="48" y="20"/>
                  </a:cubicBezTo>
                  <a:cubicBezTo>
                    <a:pt x="63" y="20"/>
                    <a:pt x="75" y="33"/>
                    <a:pt x="75" y="48"/>
                  </a:cubicBezTo>
                  <a:cubicBezTo>
                    <a:pt x="75" y="63"/>
                    <a:pt x="63" y="76"/>
                    <a:pt x="48" y="76"/>
                  </a:cubicBezTo>
                  <a:close/>
                  <a:moveTo>
                    <a:pt x="227" y="244"/>
                  </a:moveTo>
                  <a:cubicBezTo>
                    <a:pt x="227" y="92"/>
                    <a:pt x="227" y="92"/>
                    <a:pt x="227" y="92"/>
                  </a:cubicBezTo>
                  <a:cubicBezTo>
                    <a:pt x="244" y="85"/>
                    <a:pt x="256" y="68"/>
                    <a:pt x="256" y="48"/>
                  </a:cubicBezTo>
                  <a:cubicBezTo>
                    <a:pt x="256" y="21"/>
                    <a:pt x="234" y="0"/>
                    <a:pt x="208" y="0"/>
                  </a:cubicBezTo>
                  <a:cubicBezTo>
                    <a:pt x="181" y="0"/>
                    <a:pt x="160" y="21"/>
                    <a:pt x="160" y="48"/>
                  </a:cubicBezTo>
                  <a:cubicBezTo>
                    <a:pt x="160" y="68"/>
                    <a:pt x="172" y="85"/>
                    <a:pt x="189" y="92"/>
                  </a:cubicBezTo>
                  <a:cubicBezTo>
                    <a:pt x="189" y="244"/>
                    <a:pt x="189" y="244"/>
                    <a:pt x="189" y="244"/>
                  </a:cubicBezTo>
                  <a:cubicBezTo>
                    <a:pt x="172" y="251"/>
                    <a:pt x="160" y="268"/>
                    <a:pt x="160" y="288"/>
                  </a:cubicBezTo>
                  <a:cubicBezTo>
                    <a:pt x="160" y="314"/>
                    <a:pt x="181" y="336"/>
                    <a:pt x="208" y="336"/>
                  </a:cubicBezTo>
                  <a:cubicBezTo>
                    <a:pt x="234" y="336"/>
                    <a:pt x="256" y="314"/>
                    <a:pt x="256" y="288"/>
                  </a:cubicBezTo>
                  <a:cubicBezTo>
                    <a:pt x="256" y="268"/>
                    <a:pt x="244" y="251"/>
                    <a:pt x="227" y="244"/>
                  </a:cubicBezTo>
                  <a:close/>
                  <a:moveTo>
                    <a:pt x="180" y="48"/>
                  </a:moveTo>
                  <a:cubicBezTo>
                    <a:pt x="180" y="33"/>
                    <a:pt x="192" y="20"/>
                    <a:pt x="208" y="20"/>
                  </a:cubicBezTo>
                  <a:cubicBezTo>
                    <a:pt x="223" y="20"/>
                    <a:pt x="235" y="33"/>
                    <a:pt x="235" y="48"/>
                  </a:cubicBezTo>
                  <a:cubicBezTo>
                    <a:pt x="235" y="63"/>
                    <a:pt x="223" y="76"/>
                    <a:pt x="208" y="76"/>
                  </a:cubicBezTo>
                  <a:cubicBezTo>
                    <a:pt x="192" y="76"/>
                    <a:pt x="180" y="63"/>
                    <a:pt x="180" y="48"/>
                  </a:cubicBezTo>
                  <a:close/>
                  <a:moveTo>
                    <a:pt x="208" y="316"/>
                  </a:moveTo>
                  <a:cubicBezTo>
                    <a:pt x="192" y="316"/>
                    <a:pt x="180" y="303"/>
                    <a:pt x="180" y="288"/>
                  </a:cubicBezTo>
                  <a:cubicBezTo>
                    <a:pt x="180" y="273"/>
                    <a:pt x="192" y="260"/>
                    <a:pt x="208" y="260"/>
                  </a:cubicBezTo>
                  <a:cubicBezTo>
                    <a:pt x="223" y="260"/>
                    <a:pt x="235" y="273"/>
                    <a:pt x="235" y="288"/>
                  </a:cubicBezTo>
                  <a:cubicBezTo>
                    <a:pt x="235" y="303"/>
                    <a:pt x="223" y="316"/>
                    <a:pt x="208" y="3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2032000" y="1606550"/>
            <a:ext cx="3875405" cy="1950085"/>
            <a:chOff x="3880" y="2250"/>
            <a:chExt cx="6103" cy="3071"/>
          </a:xfrm>
        </p:grpSpPr>
        <p:sp>
          <p:nvSpPr>
            <p:cNvPr id="62" name="Content Placeholder 2"/>
            <p:cNvSpPr txBox="1"/>
            <p:nvPr/>
          </p:nvSpPr>
          <p:spPr>
            <a:xfrm>
              <a:off x="3880" y="2250"/>
              <a:ext cx="4694" cy="489"/>
            </a:xfrm>
            <a:prstGeom prst="rect">
              <a:avLst/>
            </a:prstGeom>
          </p:spPr>
          <p:txBody>
            <a:bodyPr vert="horz" lIns="105484" tIns="52741" rIns="105484" bIns="5274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9pPr>
            </a:lstStyle>
            <a:p>
              <a:pPr marL="0" indent="0" algn="l" fontAlgn="base">
                <a:buNone/>
              </a:pPr>
              <a:r>
                <a:rPr lang="zh-CN" altLang="en-US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❑ 低效</a:t>
              </a:r>
              <a:r>
                <a:rPr lang="en-US" altLang="zh-CN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SQL</a:t>
              </a:r>
              <a:r>
                <a:rPr lang="zh-CN" altLang="en-US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改进</a:t>
              </a:r>
            </a:p>
            <a:p>
              <a:pPr marL="0" indent="0" algn="l" fontAlgn="base">
                <a:buNone/>
              </a:pPr>
              <a:endPara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endParaRPr>
            </a:p>
          </p:txBody>
        </p:sp>
        <p:sp>
          <p:nvSpPr>
            <p:cNvPr id="63" name="Content Placeholder 2"/>
            <p:cNvSpPr txBox="1"/>
            <p:nvPr/>
          </p:nvSpPr>
          <p:spPr>
            <a:xfrm>
              <a:off x="3920" y="2554"/>
              <a:ext cx="6063" cy="2767"/>
            </a:xfrm>
            <a:prstGeom prst="rect">
              <a:avLst/>
            </a:prstGeom>
          </p:spPr>
          <p:txBody>
            <a:bodyPr vert="horz" lIns="105484" tIns="52741" rIns="105484" bIns="5274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9pPr>
            </a:lstStyle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➊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建立、优化索引；</a:t>
              </a:r>
              <a:endParaRPr sz="1200" dirty="0" smtClean="0">
                <a:solidFill>
                  <a:schemeClr val="tx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➋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对大存量数据的表进行归档</a:t>
              </a: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➌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对</a:t>
              </a:r>
              <a:r>
                <a:rPr lang="en-US" alt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语句进行优化，优化查询条件</a:t>
              </a: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❹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梳理业务程序，对其进行优化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❺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按照太符规范整改</a:t>
              </a:r>
              <a:r>
                <a:rPr lang="en-US" alt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，禁止</a:t>
              </a:r>
              <a:r>
                <a:rPr lang="en-US" alt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2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表以上的关联；</a:t>
              </a: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2045335" y="3676650"/>
            <a:ext cx="3623310" cy="1950085"/>
            <a:chOff x="3880" y="2250"/>
            <a:chExt cx="5706" cy="3071"/>
          </a:xfrm>
        </p:grpSpPr>
        <p:sp>
          <p:nvSpPr>
            <p:cNvPr id="3" name="Content Placeholder 2"/>
            <p:cNvSpPr txBox="1"/>
            <p:nvPr/>
          </p:nvSpPr>
          <p:spPr>
            <a:xfrm>
              <a:off x="3880" y="2250"/>
              <a:ext cx="4694" cy="489"/>
            </a:xfrm>
            <a:prstGeom prst="rect">
              <a:avLst/>
            </a:prstGeom>
          </p:spPr>
          <p:txBody>
            <a:bodyPr vert="horz" lIns="105484" tIns="52741" rIns="105484" bIns="5274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9pPr>
            </a:lstStyle>
            <a:p>
              <a:pPr marL="0" indent="0" algn="l" fontAlgn="base">
                <a:buNone/>
              </a:pPr>
              <a:r>
                <a:rPr lang="zh-CN" altLang="en-US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❑ 低效</a:t>
              </a:r>
              <a:r>
                <a:rPr lang="en-US" altLang="zh-CN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SQL</a:t>
              </a:r>
              <a:r>
                <a:rPr lang="zh-CN" altLang="en-US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防范</a:t>
              </a:r>
            </a:p>
            <a:p>
              <a:pPr marL="0" indent="0" algn="l" fontAlgn="base">
                <a:buNone/>
              </a:pPr>
              <a:endPara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endParaRPr>
            </a:p>
          </p:txBody>
        </p:sp>
        <p:sp>
          <p:nvSpPr>
            <p:cNvPr id="4" name="Content Placeholder 2"/>
            <p:cNvSpPr txBox="1"/>
            <p:nvPr/>
          </p:nvSpPr>
          <p:spPr>
            <a:xfrm>
              <a:off x="3920" y="2554"/>
              <a:ext cx="5666" cy="2767"/>
            </a:xfrm>
            <a:prstGeom prst="rect">
              <a:avLst/>
            </a:prstGeom>
          </p:spPr>
          <p:txBody>
            <a:bodyPr vert="horz" lIns="105484" tIns="52741" rIns="105484" bIns="5274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9pPr>
            </a:lstStyle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➊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在项目团队加强宣导，加强开发规范意识；</a:t>
              </a:r>
              <a:endParaRPr sz="1200" dirty="0" smtClean="0">
                <a:solidFill>
                  <a:schemeClr val="tx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➋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对开发写的代码进行质量检查，交叉评审</a:t>
              </a: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➌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借用代码检查工具进行检查，比如白猫平台</a:t>
              </a: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❹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对开发人员进行必要的低效</a:t>
              </a:r>
              <a:r>
                <a:rPr lang="en-US" alt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技能培训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❺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建立绩效奖惩机制，树立良好的开发规范意识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2133600" y="1522413"/>
            <a:ext cx="6096000" cy="1270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normAutofit lnSpcReduction="10000"/>
          </a:bodyPr>
          <a:lstStyle/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谢谢</a:t>
            </a:r>
            <a:endParaRPr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ANK YOU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</a:p>
        </p:txBody>
      </p:sp>
      <p:grpSp>
        <p:nvGrpSpPr>
          <p:cNvPr id="26" name="组合 25"/>
          <p:cNvGrpSpPr/>
          <p:nvPr/>
        </p:nvGrpSpPr>
        <p:grpSpPr>
          <a:xfrm>
            <a:off x="835660" y="2906395"/>
            <a:ext cx="3750310" cy="2464435"/>
            <a:chOff x="1421" y="4157"/>
            <a:chExt cx="5906" cy="3881"/>
          </a:xfrm>
        </p:grpSpPr>
        <p:sp>
          <p:nvSpPr>
            <p:cNvPr id="90" name="Rectangle 89"/>
            <p:cNvSpPr/>
            <p:nvPr/>
          </p:nvSpPr>
          <p:spPr>
            <a:xfrm>
              <a:off x="1421" y="7869"/>
              <a:ext cx="5906" cy="169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en-US" sz="800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grpSp>
          <p:nvGrpSpPr>
            <p:cNvPr id="8" name="Group 137"/>
            <p:cNvGrpSpPr/>
            <p:nvPr/>
          </p:nvGrpSpPr>
          <p:grpSpPr>
            <a:xfrm>
              <a:off x="1952" y="4157"/>
              <a:ext cx="510" cy="3640"/>
              <a:chOff x="1074408" y="1485901"/>
              <a:chExt cx="230211" cy="1643692"/>
            </a:xfrm>
          </p:grpSpPr>
          <p:cxnSp>
            <p:nvCxnSpPr>
              <p:cNvPr id="91" name="Straight Connector 90"/>
              <p:cNvCxnSpPr/>
              <p:nvPr/>
            </p:nvCxnSpPr>
            <p:spPr>
              <a:xfrm rot="16200000" flipV="1">
                <a:off x="359569" y="2302205"/>
                <a:ext cx="1638299" cy="569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>
                    <a:lumMod val="75000"/>
                  </a:sysClr>
                </a:solidFill>
                <a:prstDash val="sysDot"/>
                <a:miter lim="800000"/>
                <a:headEnd type="none" w="med" len="med"/>
                <a:tailEnd type="oval" w="med" len="med"/>
              </a:ln>
              <a:effectLst/>
            </p:spPr>
          </p:cxnSp>
          <p:sp>
            <p:nvSpPr>
              <p:cNvPr id="95" name="Rounded Rectangle 94"/>
              <p:cNvSpPr/>
              <p:nvPr/>
            </p:nvSpPr>
            <p:spPr>
              <a:xfrm>
                <a:off x="1074408" y="3052788"/>
                <a:ext cx="230211" cy="76805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 sz="800" dirty="0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4" name="Group 138"/>
            <p:cNvGrpSpPr/>
            <p:nvPr/>
          </p:nvGrpSpPr>
          <p:grpSpPr>
            <a:xfrm>
              <a:off x="2562" y="4157"/>
              <a:ext cx="475" cy="3628"/>
              <a:chOff x="1344030" y="1485901"/>
              <a:chExt cx="214311" cy="1638299"/>
            </a:xfrm>
          </p:grpSpPr>
          <p:cxnSp>
            <p:nvCxnSpPr>
              <p:cNvPr id="98" name="Straight Connector 97"/>
              <p:cNvCxnSpPr/>
              <p:nvPr/>
            </p:nvCxnSpPr>
            <p:spPr>
              <a:xfrm rot="16200000" flipV="1">
                <a:off x="639568" y="2302205"/>
                <a:ext cx="1638299" cy="569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>
                    <a:lumMod val="75000"/>
                  </a:sysClr>
                </a:solidFill>
                <a:prstDash val="sysDot"/>
                <a:miter lim="800000"/>
                <a:headEnd type="none" w="med" len="med"/>
                <a:tailEnd type="oval" w="med" len="med"/>
              </a:ln>
              <a:effectLst/>
            </p:spPr>
          </p:cxnSp>
          <p:sp>
            <p:nvSpPr>
              <p:cNvPr id="101" name="Rounded Rectangle 100"/>
              <p:cNvSpPr/>
              <p:nvPr/>
            </p:nvSpPr>
            <p:spPr>
              <a:xfrm>
                <a:off x="1344030" y="3094224"/>
                <a:ext cx="214311" cy="25602"/>
              </a:xfrm>
              <a:prstGeom prst="roundRect">
                <a:avLst/>
              </a:prstGeom>
              <a:solidFill>
                <a:srgbClr val="BFBFB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 sz="800" dirty="0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5" name="Group 139"/>
            <p:cNvGrpSpPr/>
            <p:nvPr/>
          </p:nvGrpSpPr>
          <p:grpSpPr>
            <a:xfrm>
              <a:off x="3732" y="4157"/>
              <a:ext cx="475" cy="3657"/>
              <a:chOff x="1828800" y="1485901"/>
              <a:chExt cx="214311" cy="1651602"/>
            </a:xfrm>
          </p:grpSpPr>
          <p:cxnSp>
            <p:nvCxnSpPr>
              <p:cNvPr id="104" name="Straight Connector 103"/>
              <p:cNvCxnSpPr/>
              <p:nvPr/>
            </p:nvCxnSpPr>
            <p:spPr>
              <a:xfrm rot="16200000" flipV="1">
                <a:off x="1113961" y="2302205"/>
                <a:ext cx="1638299" cy="569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>
                    <a:lumMod val="75000"/>
                  </a:sysClr>
                </a:solidFill>
                <a:prstDash val="sysDot"/>
                <a:miter lim="800000"/>
                <a:headEnd type="none" w="med" len="med"/>
                <a:tailEnd type="oval" w="med" len="med"/>
              </a:ln>
              <a:effectLst/>
            </p:spPr>
          </p:cxnSp>
          <p:sp>
            <p:nvSpPr>
              <p:cNvPr id="107" name="Rounded Rectangle 106"/>
              <p:cNvSpPr/>
              <p:nvPr/>
            </p:nvSpPr>
            <p:spPr>
              <a:xfrm>
                <a:off x="1828800" y="2837964"/>
                <a:ext cx="214311" cy="299539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 sz="800" dirty="0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6" name="Group 140"/>
            <p:cNvGrpSpPr/>
            <p:nvPr/>
          </p:nvGrpSpPr>
          <p:grpSpPr>
            <a:xfrm>
              <a:off x="4343" y="4157"/>
              <a:ext cx="475" cy="3648"/>
              <a:chOff x="2106030" y="1485901"/>
              <a:chExt cx="214311" cy="1647389"/>
            </a:xfrm>
          </p:grpSpPr>
          <p:cxnSp>
            <p:nvCxnSpPr>
              <p:cNvPr id="108" name="Straight Connector 107"/>
              <p:cNvCxnSpPr/>
              <p:nvPr/>
            </p:nvCxnSpPr>
            <p:spPr>
              <a:xfrm rot="16200000" flipV="1">
                <a:off x="1401568" y="2302205"/>
                <a:ext cx="1638299" cy="569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>
                    <a:lumMod val="75000"/>
                  </a:sysClr>
                </a:solidFill>
                <a:prstDash val="sysDot"/>
                <a:miter lim="800000"/>
                <a:headEnd type="none" w="med" len="med"/>
                <a:tailEnd type="oval" w="med" len="med"/>
              </a:ln>
              <a:effectLst/>
            </p:spPr>
          </p:cxnSp>
          <p:sp>
            <p:nvSpPr>
              <p:cNvPr id="121" name="Rounded Rectangle 120"/>
              <p:cNvSpPr/>
              <p:nvPr/>
            </p:nvSpPr>
            <p:spPr>
              <a:xfrm>
                <a:off x="2106030" y="2211630"/>
                <a:ext cx="214311" cy="921660"/>
              </a:xfrm>
              <a:prstGeom prst="roundRect">
                <a:avLst/>
              </a:prstGeom>
              <a:solidFill>
                <a:srgbClr val="BFBFB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 sz="800" dirty="0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7" name="Group 141"/>
            <p:cNvGrpSpPr/>
            <p:nvPr/>
          </p:nvGrpSpPr>
          <p:grpSpPr>
            <a:xfrm>
              <a:off x="5543" y="4157"/>
              <a:ext cx="475" cy="3633"/>
              <a:chOff x="2770770" y="1485901"/>
              <a:chExt cx="214311" cy="1640697"/>
            </a:xfrm>
          </p:grpSpPr>
          <p:cxnSp>
            <p:nvCxnSpPr>
              <p:cNvPr id="128" name="Straight Connector 127"/>
              <p:cNvCxnSpPr/>
              <p:nvPr/>
            </p:nvCxnSpPr>
            <p:spPr>
              <a:xfrm rot="16200000" flipV="1">
                <a:off x="2055931" y="2302205"/>
                <a:ext cx="1638299" cy="569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>
                    <a:lumMod val="75000"/>
                  </a:sysClr>
                </a:solidFill>
                <a:prstDash val="sysDot"/>
                <a:miter lim="800000"/>
                <a:headEnd type="none" w="med" len="med"/>
                <a:tailEnd type="oval" w="med" len="med"/>
              </a:ln>
              <a:effectLst/>
            </p:spPr>
          </p:cxnSp>
          <p:sp>
            <p:nvSpPr>
              <p:cNvPr id="129" name="Rounded Rectangle 128"/>
              <p:cNvSpPr/>
              <p:nvPr/>
            </p:nvSpPr>
            <p:spPr>
              <a:xfrm>
                <a:off x="2770770" y="2210059"/>
                <a:ext cx="214311" cy="916539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 sz="800" dirty="0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8" name="Group 142"/>
            <p:cNvGrpSpPr/>
            <p:nvPr/>
          </p:nvGrpSpPr>
          <p:grpSpPr>
            <a:xfrm>
              <a:off x="6153" y="4157"/>
              <a:ext cx="475" cy="3632"/>
              <a:chOff x="2971800" y="1485901"/>
              <a:chExt cx="214311" cy="1640126"/>
            </a:xfrm>
          </p:grpSpPr>
          <p:cxnSp>
            <p:nvCxnSpPr>
              <p:cNvPr id="136" name="Straight Connector 135"/>
              <p:cNvCxnSpPr/>
              <p:nvPr/>
            </p:nvCxnSpPr>
            <p:spPr>
              <a:xfrm rot="16200000" flipV="1">
                <a:off x="2256961" y="2302205"/>
                <a:ext cx="1638299" cy="5691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" lastClr="FFFFFF">
                    <a:lumMod val="75000"/>
                  </a:sysClr>
                </a:solidFill>
                <a:prstDash val="sysDot"/>
                <a:miter lim="800000"/>
                <a:headEnd type="none" w="med" len="med"/>
                <a:tailEnd type="oval" w="med" len="med"/>
              </a:ln>
              <a:effectLst/>
            </p:spPr>
          </p:cxnSp>
          <p:sp>
            <p:nvSpPr>
              <p:cNvPr id="137" name="Rounded Rectangle 136"/>
              <p:cNvSpPr/>
              <p:nvPr/>
            </p:nvSpPr>
            <p:spPr>
              <a:xfrm>
                <a:off x="2971800" y="1692334"/>
                <a:ext cx="214311" cy="1433693"/>
              </a:xfrm>
              <a:prstGeom prst="roundRect">
                <a:avLst/>
              </a:prstGeom>
              <a:solidFill>
                <a:srgbClr val="BFBFB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en-US" sz="800" dirty="0"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endParaRPr>
              </a:p>
            </p:txBody>
          </p:sp>
        </p:grpSp>
      </p:grpSp>
      <p:graphicFrame>
        <p:nvGraphicFramePr>
          <p:cNvPr id="20" name="表格 19"/>
          <p:cNvGraphicFramePr/>
          <p:nvPr/>
        </p:nvGraphicFramePr>
        <p:xfrm>
          <a:off x="5092065" y="1445895"/>
          <a:ext cx="5972810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35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9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1490">
                <a:tc gridSpan="2"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zh-CN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新致项目低效</a:t>
                      </a:r>
                      <a:r>
                        <a:rPr lang="en-US" altLang="zh-CN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QL</a:t>
                      </a:r>
                      <a:r>
                        <a:rPr lang="zh-CN" altLang="en-US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统计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量（个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集团2015版客户服务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寿险2015版神行太保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产险2005版人意险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寿险2010版科技个险行销支持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寿险2018版个人渠道综合管理系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合计</a:t>
                      </a:r>
                      <a:endParaRPr lang="zh-CN" altLang="en-US" sz="140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1" name="组合 20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56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3646275" cy="60757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统计分布</a:t>
                </a: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6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</a:rPr>
                  <a:t>Statistical Distribution of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42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原因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8" name="组合 7"/>
          <p:cNvGrpSpPr/>
          <p:nvPr/>
        </p:nvGrpSpPr>
        <p:grpSpPr>
          <a:xfrm>
            <a:off x="5222875" y="1084580"/>
            <a:ext cx="5681980" cy="4707255"/>
            <a:chOff x="9459" y="2752"/>
            <a:chExt cx="8948" cy="7413"/>
          </a:xfrm>
        </p:grpSpPr>
        <p:grpSp>
          <p:nvGrpSpPr>
            <p:cNvPr id="9" name="组合 8"/>
            <p:cNvGrpSpPr/>
            <p:nvPr/>
          </p:nvGrpSpPr>
          <p:grpSpPr>
            <a:xfrm>
              <a:off x="12357" y="4260"/>
              <a:ext cx="2387" cy="2387"/>
              <a:chOff x="1695226" y="3321784"/>
              <a:chExt cx="1250759" cy="1250759"/>
            </a:xfrm>
          </p:grpSpPr>
          <p:sp>
            <p:nvSpPr>
              <p:cNvPr id="10" name="椭圆 9"/>
              <p:cNvSpPr/>
              <p:nvPr/>
            </p:nvSpPr>
            <p:spPr>
              <a:xfrm>
                <a:off x="1695226" y="3321784"/>
                <a:ext cx="1250759" cy="1250759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CFCFC"/>
                  </a:gs>
                  <a:gs pos="0">
                    <a:sysClr val="window" lastClr="FFFFFF">
                      <a:lumMod val="85000"/>
                    </a:sysClr>
                  </a:gs>
                </a:gsLst>
                <a:lin ang="7200000" scaled="0"/>
                <a:tileRect/>
              </a:gradFill>
              <a:ln w="12700" cap="flat" cmpd="sng" algn="ctr">
                <a:gradFill>
                  <a:gsLst>
                    <a:gs pos="89000">
                      <a:sysClr val="window" lastClr="FFFFFF">
                        <a:lumMod val="85000"/>
                      </a:sysClr>
                    </a:gs>
                    <a:gs pos="0">
                      <a:sysClr val="window" lastClr="FFFFFF"/>
                    </a:gs>
                  </a:gsLst>
                  <a:lin ang="7200000" scaled="0"/>
                </a:gradFill>
                <a:prstDash val="solid"/>
                <a:miter lim="800000"/>
              </a:ln>
              <a:effectLst>
                <a:outerShdw blurRad="127000" dist="38100" dir="816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4BC1D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" name="椭圆 10"/>
              <p:cNvSpPr/>
              <p:nvPr/>
            </p:nvSpPr>
            <p:spPr>
              <a:xfrm>
                <a:off x="1826937" y="3453495"/>
                <a:ext cx="987336" cy="987336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10556" y="7227"/>
              <a:ext cx="1620" cy="1620"/>
              <a:chOff x="1695226" y="3321784"/>
              <a:chExt cx="1250759" cy="1250759"/>
            </a:xfrm>
          </p:grpSpPr>
          <p:sp>
            <p:nvSpPr>
              <p:cNvPr id="13" name="椭圆 12"/>
              <p:cNvSpPr/>
              <p:nvPr/>
            </p:nvSpPr>
            <p:spPr>
              <a:xfrm>
                <a:off x="1695226" y="3321784"/>
                <a:ext cx="1250759" cy="1250759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CFCFC"/>
                  </a:gs>
                  <a:gs pos="0">
                    <a:sysClr val="window" lastClr="FFFFFF">
                      <a:lumMod val="85000"/>
                    </a:sysClr>
                  </a:gs>
                </a:gsLst>
                <a:lin ang="7200000" scaled="0"/>
                <a:tileRect/>
              </a:gradFill>
              <a:ln w="12700" cap="flat" cmpd="sng" algn="ctr">
                <a:gradFill>
                  <a:gsLst>
                    <a:gs pos="89000">
                      <a:sysClr val="window" lastClr="FFFFFF">
                        <a:lumMod val="85000"/>
                      </a:sysClr>
                    </a:gs>
                    <a:gs pos="0">
                      <a:sysClr val="window" lastClr="FFFFFF"/>
                    </a:gs>
                  </a:gsLst>
                  <a:lin ang="7200000" scaled="0"/>
                </a:gradFill>
                <a:prstDash val="solid"/>
                <a:miter lim="800000"/>
              </a:ln>
              <a:effectLst>
                <a:outerShdw blurRad="127000" dist="38100" dir="816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4BC1D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" name="椭圆 13"/>
              <p:cNvSpPr/>
              <p:nvPr/>
            </p:nvSpPr>
            <p:spPr>
              <a:xfrm>
                <a:off x="1826937" y="3453495"/>
                <a:ext cx="987336" cy="987336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5" name="组合 14"/>
            <p:cNvGrpSpPr/>
            <p:nvPr/>
          </p:nvGrpSpPr>
          <p:grpSpPr>
            <a:xfrm>
              <a:off x="14153" y="7319"/>
              <a:ext cx="1620" cy="1620"/>
              <a:chOff x="1695226" y="3321784"/>
              <a:chExt cx="1250759" cy="1250759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1695226" y="3321784"/>
                <a:ext cx="1250759" cy="1250759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CFCFC"/>
                  </a:gs>
                  <a:gs pos="0">
                    <a:sysClr val="window" lastClr="FFFFFF">
                      <a:lumMod val="85000"/>
                    </a:sysClr>
                  </a:gs>
                </a:gsLst>
                <a:lin ang="7200000" scaled="0"/>
                <a:tileRect/>
              </a:gradFill>
              <a:ln w="12700" cap="flat" cmpd="sng" algn="ctr">
                <a:gradFill>
                  <a:gsLst>
                    <a:gs pos="89000">
                      <a:sysClr val="window" lastClr="FFFFFF">
                        <a:lumMod val="85000"/>
                      </a:sysClr>
                    </a:gs>
                    <a:gs pos="0">
                      <a:sysClr val="window" lastClr="FFFFFF"/>
                    </a:gs>
                  </a:gsLst>
                  <a:lin ang="7200000" scaled="0"/>
                </a:gradFill>
                <a:prstDash val="solid"/>
                <a:miter lim="800000"/>
              </a:ln>
              <a:effectLst>
                <a:outerShdw blurRad="127000" dist="38100" dir="816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4BC1D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" name="椭圆 16"/>
              <p:cNvSpPr/>
              <p:nvPr/>
            </p:nvSpPr>
            <p:spPr>
              <a:xfrm>
                <a:off x="1826937" y="3453495"/>
                <a:ext cx="987336" cy="987336"/>
              </a:xfrm>
              <a:prstGeom prst="ellipse">
                <a:avLst/>
              </a:prstGeom>
              <a:solidFill>
                <a:srgbClr val="1F84BE"/>
              </a:solidFill>
              <a:ln w="12700" cap="flat" cmpd="sng" algn="ctr">
                <a:noFill/>
                <a:prstDash val="solid"/>
                <a:miter lim="800000"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16789" y="5043"/>
              <a:ext cx="1328" cy="1328"/>
              <a:chOff x="1695226" y="3321784"/>
              <a:chExt cx="1250759" cy="1250759"/>
            </a:xfrm>
          </p:grpSpPr>
          <p:sp>
            <p:nvSpPr>
              <p:cNvPr id="19" name="椭圆 18"/>
              <p:cNvSpPr/>
              <p:nvPr/>
            </p:nvSpPr>
            <p:spPr>
              <a:xfrm>
                <a:off x="1695226" y="3321784"/>
                <a:ext cx="1250759" cy="1250759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CFCFC"/>
                  </a:gs>
                  <a:gs pos="0">
                    <a:sysClr val="window" lastClr="FFFFFF">
                      <a:lumMod val="85000"/>
                    </a:sysClr>
                  </a:gs>
                </a:gsLst>
                <a:lin ang="7200000" scaled="0"/>
                <a:tileRect/>
              </a:gradFill>
              <a:ln w="12700" cap="flat" cmpd="sng" algn="ctr">
                <a:gradFill>
                  <a:gsLst>
                    <a:gs pos="89000">
                      <a:sysClr val="window" lastClr="FFFFFF">
                        <a:lumMod val="85000"/>
                      </a:sysClr>
                    </a:gs>
                    <a:gs pos="0">
                      <a:sysClr val="window" lastClr="FFFFFF"/>
                    </a:gs>
                  </a:gsLst>
                  <a:lin ang="7200000" scaled="0"/>
                </a:gradFill>
                <a:prstDash val="solid"/>
                <a:miter lim="800000"/>
              </a:ln>
              <a:effectLst>
                <a:outerShdw blurRad="127000" dist="38100" dir="816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4BC1DC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椭圆 19"/>
              <p:cNvSpPr/>
              <p:nvPr/>
            </p:nvSpPr>
            <p:spPr>
              <a:xfrm>
                <a:off x="1826937" y="3453495"/>
                <a:ext cx="987336" cy="987336"/>
              </a:xfrm>
              <a:prstGeom prst="ellipse">
                <a:avLst/>
              </a:prstGeom>
              <a:solidFill>
                <a:srgbClr val="1F84BE"/>
              </a:solidFill>
              <a:ln w="12700" cap="flat" cmpd="sng" algn="ctr">
                <a:noFill/>
                <a:prstDash val="solid"/>
                <a:miter lim="800000"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1" name="TextBox 4"/>
            <p:cNvSpPr txBox="1"/>
            <p:nvPr/>
          </p:nvSpPr>
          <p:spPr>
            <a:xfrm>
              <a:off x="11777" y="3521"/>
              <a:ext cx="2288" cy="3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000" dirty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查询返回的数据量过大</a:t>
              </a:r>
            </a:p>
          </p:txBody>
        </p:sp>
        <p:sp>
          <p:nvSpPr>
            <p:cNvPr id="22" name="TextBox 5"/>
            <p:cNvSpPr txBox="1"/>
            <p:nvPr/>
          </p:nvSpPr>
          <p:spPr>
            <a:xfrm>
              <a:off x="12127" y="8708"/>
              <a:ext cx="1669" cy="3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sz="10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写法不恰当</a:t>
              </a:r>
              <a:endParaRPr lang="zh-CN" altLang="en-US" sz="1000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3" name="TextBox 6"/>
            <p:cNvSpPr txBox="1"/>
            <p:nvPr/>
          </p:nvSpPr>
          <p:spPr>
            <a:xfrm>
              <a:off x="16658" y="6442"/>
              <a:ext cx="1749" cy="3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10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查询字段无</a:t>
              </a:r>
              <a:r>
                <a:rPr sz="10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索引</a:t>
              </a:r>
              <a:endParaRPr lang="zh-CN" altLang="en-US" sz="1000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4" name="TextBox 7"/>
            <p:cNvSpPr txBox="1"/>
            <p:nvPr/>
          </p:nvSpPr>
          <p:spPr>
            <a:xfrm>
              <a:off x="14720" y="4202"/>
              <a:ext cx="2088" cy="3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000" dirty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查询有走全表的情况</a:t>
              </a:r>
            </a:p>
          </p:txBody>
        </p:sp>
        <p:sp>
          <p:nvSpPr>
            <p:cNvPr id="28" name="TextBox 8"/>
            <p:cNvSpPr txBox="1"/>
            <p:nvPr/>
          </p:nvSpPr>
          <p:spPr>
            <a:xfrm>
              <a:off x="9591" y="6309"/>
              <a:ext cx="1888" cy="4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lang="zh-CN" altLang="en-GB" sz="10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相关索引没有走到</a:t>
              </a:r>
            </a:p>
          </p:txBody>
        </p:sp>
        <p:sp>
          <p:nvSpPr>
            <p:cNvPr id="29" name="椭圆 28"/>
            <p:cNvSpPr/>
            <p:nvPr/>
          </p:nvSpPr>
          <p:spPr>
            <a:xfrm>
              <a:off x="15598" y="6459"/>
              <a:ext cx="608" cy="608"/>
            </a:xfrm>
            <a:prstGeom prst="ellipse">
              <a:avLst/>
            </a:prstGeom>
            <a:solidFill>
              <a:srgbClr val="1F84BE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dist="127000" dir="8100000" algn="tr" rotWithShape="0">
                <a:prstClr val="black">
                  <a:alpha val="6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10831" y="9068"/>
              <a:ext cx="487" cy="487"/>
              <a:chOff x="304800" y="673100"/>
              <a:chExt cx="4000500" cy="4000500"/>
            </a:xfrm>
            <a:effectLst>
              <a:outerShdw blurRad="381000" dist="152400" dir="8100000" algn="tr" rotWithShape="0">
                <a:prstClr val="black">
                  <a:alpha val="70000"/>
                </a:prstClr>
              </a:outerShdw>
            </a:effectLst>
          </p:grpSpPr>
          <p:sp>
            <p:nvSpPr>
              <p:cNvPr id="31" name="同心圆 30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ysClr val="window" lastClr="FFFFFF"/>
                  </a:gs>
                  <a:gs pos="55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81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4" name="椭圆 33"/>
              <p:cNvSpPr/>
              <p:nvPr/>
            </p:nvSpPr>
            <p:spPr>
              <a:xfrm>
                <a:off x="479425" y="847725"/>
                <a:ext cx="3651250" cy="3651250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51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75000"/>
                    </a:sysClr>
                  </a:gs>
                </a:gsLst>
                <a:lin ang="189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5" name="组合 34"/>
            <p:cNvGrpSpPr/>
            <p:nvPr/>
          </p:nvGrpSpPr>
          <p:grpSpPr>
            <a:xfrm>
              <a:off x="10221" y="5577"/>
              <a:ext cx="638" cy="638"/>
              <a:chOff x="304800" y="673100"/>
              <a:chExt cx="4000500" cy="4000500"/>
            </a:xfrm>
            <a:effectLst>
              <a:outerShdw blurRad="381000" dist="152400" dir="8100000" algn="tr" rotWithShape="0">
                <a:prstClr val="black">
                  <a:alpha val="70000"/>
                </a:prstClr>
              </a:outerShdw>
            </a:effectLst>
          </p:grpSpPr>
          <p:sp>
            <p:nvSpPr>
              <p:cNvPr id="36" name="同心圆 35"/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ysClr val="window" lastClr="FFFFFF"/>
                  </a:gs>
                  <a:gs pos="55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81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7" name="椭圆 36"/>
              <p:cNvSpPr/>
              <p:nvPr/>
            </p:nvSpPr>
            <p:spPr>
              <a:xfrm>
                <a:off x="479425" y="847725"/>
                <a:ext cx="3651250" cy="3651250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51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75000"/>
                    </a:sysClr>
                  </a:gs>
                </a:gsLst>
                <a:lin ang="189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8" name="椭圆 37"/>
            <p:cNvSpPr/>
            <p:nvPr/>
          </p:nvSpPr>
          <p:spPr>
            <a:xfrm>
              <a:off x="15450" y="3361"/>
              <a:ext cx="608" cy="608"/>
            </a:xfrm>
            <a:prstGeom prst="ellipse">
              <a:avLst/>
            </a:prstGeom>
            <a:solidFill>
              <a:srgbClr val="1F84BE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dist="127000" dir="8100000" algn="tr" rotWithShape="0">
                <a:prstClr val="black">
                  <a:alpha val="6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椭圆 45"/>
            <p:cNvSpPr/>
            <p:nvPr/>
          </p:nvSpPr>
          <p:spPr>
            <a:xfrm>
              <a:off x="17058" y="9124"/>
              <a:ext cx="304" cy="304"/>
            </a:xfrm>
            <a:prstGeom prst="ellipse">
              <a:avLst/>
            </a:prstGeom>
            <a:solidFill>
              <a:srgbClr val="1F84BE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dist="127000" dir="8100000" algn="tr" rotWithShape="0">
                <a:prstClr val="black">
                  <a:alpha val="6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椭圆 47"/>
            <p:cNvSpPr/>
            <p:nvPr/>
          </p:nvSpPr>
          <p:spPr>
            <a:xfrm>
              <a:off x="12617" y="2752"/>
              <a:ext cx="608" cy="608"/>
            </a:xfrm>
            <a:prstGeom prst="ellipse">
              <a:avLst/>
            </a:prstGeom>
            <a:solidFill>
              <a:srgbClr val="1F84BE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dist="127000" dir="8100000" algn="tr" rotWithShape="0">
                <a:prstClr val="black">
                  <a:alpha val="6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椭圆 48"/>
            <p:cNvSpPr/>
            <p:nvPr/>
          </p:nvSpPr>
          <p:spPr>
            <a:xfrm>
              <a:off x="14189" y="6877"/>
              <a:ext cx="304" cy="304"/>
            </a:xfrm>
            <a:prstGeom prst="ellipse">
              <a:avLst/>
            </a:prstGeom>
            <a:solidFill>
              <a:srgbClr val="1F84BE"/>
            </a:solidFill>
            <a:ln w="12700" cap="flat" cmpd="sng" algn="ctr">
              <a:noFill/>
              <a:prstDash val="solid"/>
              <a:miter lim="800000"/>
            </a:ln>
            <a:effectLst>
              <a:outerShdw blurRad="254000" dist="127000" dir="8100000" algn="tr" rotWithShape="0">
                <a:prstClr val="black">
                  <a:alpha val="6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" name="TextBox 5"/>
            <p:cNvSpPr txBox="1"/>
            <p:nvPr/>
          </p:nvSpPr>
          <p:spPr>
            <a:xfrm>
              <a:off x="9459" y="9779"/>
              <a:ext cx="2888" cy="3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0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查询条件不正确导致全表扫描</a:t>
              </a:r>
            </a:p>
          </p:txBody>
        </p:sp>
        <p:sp>
          <p:nvSpPr>
            <p:cNvPr id="3" name="TextBox 5"/>
            <p:cNvSpPr txBox="1"/>
            <p:nvPr/>
          </p:nvSpPr>
          <p:spPr>
            <a:xfrm>
              <a:off x="14375" y="9223"/>
              <a:ext cx="1288" cy="3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0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存量数据大</a:t>
              </a:r>
            </a:p>
          </p:txBody>
        </p:sp>
        <p:sp>
          <p:nvSpPr>
            <p:cNvPr id="4" name="TextBox 5"/>
            <p:cNvSpPr txBox="1"/>
            <p:nvPr/>
          </p:nvSpPr>
          <p:spPr>
            <a:xfrm>
              <a:off x="16313" y="9629"/>
              <a:ext cx="1888" cy="3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0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多张大表关联查询</a:t>
              </a:r>
            </a:p>
          </p:txBody>
        </p:sp>
      </p:grpSp>
      <p:grpSp>
        <p:nvGrpSpPr>
          <p:cNvPr id="51" name="Group 37"/>
          <p:cNvGrpSpPr/>
          <p:nvPr/>
        </p:nvGrpSpPr>
        <p:grpSpPr>
          <a:xfrm>
            <a:off x="829310" y="1393190"/>
            <a:ext cx="3747769" cy="4286250"/>
            <a:chOff x="1056044" y="2620500"/>
            <a:chExt cx="3554060" cy="4064693"/>
          </a:xfrm>
        </p:grpSpPr>
        <p:sp>
          <p:nvSpPr>
            <p:cNvPr id="54" name="TextBox 28"/>
            <p:cNvSpPr txBox="1"/>
            <p:nvPr/>
          </p:nvSpPr>
          <p:spPr>
            <a:xfrm>
              <a:off x="1056044" y="2620500"/>
              <a:ext cx="3467949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低效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原因分析</a:t>
              </a:r>
            </a:p>
          </p:txBody>
        </p:sp>
        <p:sp>
          <p:nvSpPr>
            <p:cNvPr id="55" name="Rectangle 29"/>
            <p:cNvSpPr/>
            <p:nvPr/>
          </p:nvSpPr>
          <p:spPr>
            <a:xfrm>
              <a:off x="1080733" y="2920986"/>
              <a:ext cx="3529371" cy="37642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主要原因有：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1、查询返回的数据量过大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2、查询有走全表的情况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3、相关索引没有走到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4、</a:t>
              </a:r>
              <a:r>
                <a:rPr lang="zh-CN" alt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查询字段无</a:t>
              </a: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索引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5</a:t>
              </a:r>
              <a:r>
                <a:rPr lang="zh-CN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、SQL写法不恰当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lang="en-US" altLang="zh-CN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6</a:t>
              </a:r>
              <a:r>
                <a:rPr lang="zh-CN" alt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、查询条件不正确导致全表扫描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lang="en-US" altLang="zh-CN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7</a:t>
              </a:r>
              <a:r>
                <a:rPr lang="zh-CN" alt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、存量数据大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lang="en-US" altLang="zh-CN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8</a:t>
              </a:r>
              <a:r>
                <a:rPr lang="zh-CN" alt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、多张大表关联查询；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747769" cy="838834"/>
            <a:chOff x="1056044" y="2620500"/>
            <a:chExt cx="3554060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467949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1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查询返回的数据量过大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8546465" y="1507490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340" y="2091690"/>
            <a:ext cx="7724775" cy="381952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8601075" y="2035175"/>
            <a:ext cx="327088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：对表t_li_cout_activity加组合索引cmp_type_cd，cmp_type_id，cout_mode，csd_id</a:t>
            </a:r>
          </a:p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：缩小查询数据范围，如：时间范围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9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747769" cy="838834"/>
            <a:chOff x="1056044" y="2620500"/>
            <a:chExt cx="3554060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467949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2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查询有走全表的情况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8082915" y="153606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1215" y="2090420"/>
            <a:ext cx="7686675" cy="30099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8269605" y="2044700"/>
            <a:ext cx="325882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中去掉 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ke</a:t>
            </a:r>
            <a:r>
              <a:rPr lang="zh-CN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查询条件，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梳理具体的业务场景，通过再次查询替代；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9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4300220" cy="838834"/>
            <a:chOff x="1056044" y="2620500"/>
            <a:chExt cx="4077957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4077957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3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相关索引没有走到</a:t>
              </a:r>
              <a:r>
                <a:rPr lang="en-US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-</a:t>
              </a:r>
              <a:r>
                <a:rPr lang="zh-CN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不恰当索引</a:t>
              </a:r>
              <a:endParaRPr lang="zh-CN" alt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7728585" y="153606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789545" y="2044700"/>
            <a:ext cx="3757930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中添加强制索引，让执行最优的索引，如：select * from ( select</a:t>
            </a:r>
            <a:r>
              <a:rPr lang="zh-CN" altLang="en-US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/*+ index(xt_plc_policy  IDX_XT_PLC_POLICY_18) */ 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.branch_code,   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445" y="2011680"/>
            <a:ext cx="6076950" cy="37623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747769" cy="838834"/>
            <a:chOff x="1056044" y="2620500"/>
            <a:chExt cx="3554060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467949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4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lang="zh-CN" altLang="en-US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查询字段无</a:t>
              </a:r>
              <a:r>
                <a:rPr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索引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7728585" y="147891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789545" y="2044700"/>
            <a:ext cx="325882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中对 T_DIM_USER表字段VALID_DTTM添加索引；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185" y="2080895"/>
            <a:ext cx="5476875" cy="25527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5345" y="2045970"/>
            <a:ext cx="6467475" cy="1952625"/>
          </a:xfrm>
          <a:prstGeom prst="rect">
            <a:avLst/>
          </a:prstGeom>
        </p:spPr>
      </p:pic>
      <p:grpSp>
        <p:nvGrpSpPr>
          <p:cNvPr id="6" name="Group 37"/>
          <p:cNvGrpSpPr/>
          <p:nvPr/>
        </p:nvGrpSpPr>
        <p:grpSpPr>
          <a:xfrm>
            <a:off x="749300" y="1393190"/>
            <a:ext cx="3747769" cy="838834"/>
            <a:chOff x="1056044" y="2620500"/>
            <a:chExt cx="3554060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467949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5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lang="zh-CN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写法不恰当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780415" y="418846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827405" y="4703445"/>
            <a:ext cx="9951720" cy="1168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拆成两个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elete</a:t>
            </a:r>
            <a:r>
              <a:rPr lang="zh-CN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，如下：</a:t>
            </a:r>
            <a:endParaRPr lang="zh-CN" altLang="zh-CN">
              <a:ea typeface="宋体" panose="02010600030101010101" pitchFamily="2" charset="-122"/>
            </a:endParaRPr>
          </a:p>
          <a:p>
            <a:endParaRPr lang="zh-CN" altLang="zh-CN">
              <a:ea typeface="宋体" panose="02010600030101010101" pitchFamily="2" charset="-122"/>
            </a:endParaRPr>
          </a:p>
          <a:p>
            <a:r>
              <a:rPr lang="zh-CN" altLang="zh-CN">
                <a:ea typeface="宋体" panose="02010600030101010101" pitchFamily="2" charset="-122"/>
              </a:rPr>
              <a:t>DELETE T_M1_AGENT_LOGIN_DETAIL T WHERE (T.CHECKIN_TIME &gt;= :B2 AND T.CHECKIN_TIME &lt; :B1 ) </a:t>
            </a:r>
          </a:p>
          <a:p>
            <a:endParaRPr lang="zh-CN" altLang="zh-CN">
              <a:ea typeface="宋体" panose="02010600030101010101" pitchFamily="2" charset="-122"/>
            </a:endParaRPr>
          </a:p>
          <a:p>
            <a:r>
              <a:rPr lang="zh-CN" altLang="zh-CN">
                <a:ea typeface="宋体" panose="02010600030101010101" pitchFamily="2" charset="-122"/>
              </a:rPr>
              <a:t>DELETE T_M1_AGENT_LOGIN_DETAIL T WHERE (T.CHECKOUT_TIME &gt;= :B2 AND T.CHECKOUT_TIME &lt;:B1 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983990" cy="838834"/>
            <a:chOff x="1056044" y="2620500"/>
            <a:chExt cx="3778072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778072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6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lang="zh-CN" altLang="en-US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查询条件不正确导致全表扫描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7579995" y="143319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640955" y="1941830"/>
            <a:ext cx="3699510" cy="1383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latinLnBrk="0" hangingPunct="1">
              <a:lnSpc>
                <a:spcPct val="150000"/>
              </a:lnSpc>
            </a:pP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中</a:t>
            </a:r>
            <a:r>
              <a:rPr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当创建时间入参为空的时候走了全表扫描</a:t>
            </a:r>
            <a:r>
              <a:rPr 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对必要查询条件进行控制，要求必填，同时和业务沟通进行兜底方案，如果没有必要条件，默认设置一些查询参数；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135" y="2069465"/>
            <a:ext cx="5991225" cy="30289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龙腾四海">
      <a:dk1>
        <a:sysClr val="windowText" lastClr="000000"/>
      </a:dk1>
      <a:lt1>
        <a:sysClr val="window" lastClr="FFFFFF"/>
      </a:lt1>
      <a:dk2>
        <a:srgbClr val="001B36"/>
      </a:dk2>
      <a:lt2>
        <a:srgbClr val="EDF8FE"/>
      </a:lt2>
      <a:accent1>
        <a:srgbClr val="477AB1"/>
      </a:accent1>
      <a:accent2>
        <a:srgbClr val="51848E"/>
      </a:accent2>
      <a:accent3>
        <a:srgbClr val="7B9B57"/>
      </a:accent3>
      <a:accent4>
        <a:srgbClr val="8B8D8C"/>
      </a:accent4>
      <a:accent5>
        <a:srgbClr val="8B7396"/>
      </a:accent5>
      <a:accent6>
        <a:srgbClr val="E89A53"/>
      </a:accent6>
      <a:hlink>
        <a:srgbClr val="0080FF"/>
      </a:hlink>
      <a:folHlink>
        <a:srgbClr val="FF00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0" tIns="0" rIns="0" bIns="0" numCol="1" rtlCol="0" anchor="t" anchorCtr="0" compatLnSpc="1"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微软雅黑" panose="020B0503020204020204" pitchFamily="34" charset="-122"/>
            <a:ea typeface="微软雅黑" panose="020B0503020204020204" pitchFamily="34" charset="-122"/>
            <a:cs typeface="MS PGothic" panose="020B0600070205080204" pitchFamily="34" charset="-128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</TotalTime>
  <Words>859</Words>
  <Application>Microsoft Office PowerPoint</Application>
  <PresentationFormat>宽屏</PresentationFormat>
  <Paragraphs>131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30" baseType="lpstr">
      <vt:lpstr>Malgun Gothic</vt:lpstr>
      <vt:lpstr>MS PGothic</vt:lpstr>
      <vt:lpstr>Myriad Pro</vt:lpstr>
      <vt:lpstr>黑体</vt:lpstr>
      <vt:lpstr>宋体</vt:lpstr>
      <vt:lpstr>微软雅黑</vt:lpstr>
      <vt:lpstr>Arial</vt:lpstr>
      <vt:lpstr>Calibri</vt:lpstr>
      <vt:lpstr>Century Gothic</vt:lpstr>
      <vt:lpstr>Verdana</vt:lpstr>
      <vt:lpstr>2_IB Standard Onscreen</vt:lpstr>
      <vt:lpstr>自定义设计方案</vt:lpstr>
      <vt:lpstr>3_自定义设计方案</vt:lpstr>
      <vt:lpstr>3_IB Standard Onscreen</vt:lpstr>
      <vt:lpstr>4_IB Standard Onscreen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our new PPT template</dc:title>
  <dc:creator>袁震宇</dc:creator>
  <cp:lastModifiedBy>CPIC</cp:lastModifiedBy>
  <cp:revision>2864</cp:revision>
  <dcterms:created xsi:type="dcterms:W3CDTF">2013-02-21T03:21:00Z</dcterms:created>
  <dcterms:modified xsi:type="dcterms:W3CDTF">2019-06-27T09:0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806</vt:lpwstr>
  </property>
</Properties>
</file>